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4333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omas Scientific" id="{8D06F7DD-EE30-4817-AB53-AD97C89C8F89}">
          <p14:sldIdLst>
            <p14:sldId id="433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1D192"/>
    <a:srgbClr val="D88600"/>
    <a:srgbClr val="0000FF"/>
    <a:srgbClr val="33404F"/>
    <a:srgbClr val="FFAB21"/>
    <a:srgbClr val="595959"/>
    <a:srgbClr val="441C6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2838BEF-8BB2-4498-84A7-C5851F593DF1}"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859" autoAdjust="0"/>
    <p:restoredTop sz="96081" autoAdjust="0"/>
  </p:normalViewPr>
  <p:slideViewPr>
    <p:cSldViewPr snapToGrid="0">
      <p:cViewPr varScale="1">
        <p:scale>
          <a:sx n="75" d="100"/>
          <a:sy n="75" d="100"/>
        </p:scale>
        <p:origin x="120" y="570"/>
      </p:cViewPr>
      <p:guideLst/>
    </p:cSldViewPr>
  </p:slideViewPr>
  <p:outlineViewPr>
    <p:cViewPr>
      <p:scale>
        <a:sx n="33" d="100"/>
        <a:sy n="33" d="100"/>
      </p:scale>
      <p:origin x="0" y="-119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2568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6F666D-E0C2-435B-BAA8-9287F9E5D3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EBCAF-CB3F-4928-91AA-D61472F88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1077DB-935E-4A0A-947A-D283B9F9F452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56698-63C6-4CCC-81CB-EA5604C30F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67FDA-05D7-4760-A373-5D6AEAAF42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2C0B10-7CAE-41E4-AB02-7E8B1FF2B8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537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881107-E2F0-4FFB-BAD2-D68BB3595516}" type="datetimeFigureOut">
              <a:rPr lang="en-US" noProof="0" smtClean="0"/>
              <a:t>2/17/2025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818732-FA64-4F57-8EE6-57AA70E1F1E0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630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742B4-B188-3D5E-3EE0-1ABFA5DC6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B2BC29-F9EC-0A04-7AD0-C52BEDC626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56997A-EF0C-3BD2-6CD9-A75E822184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56842-71F3-4264-D297-E6EE2B611B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18732-FA64-4F57-8EE6-57AA70E1F1E0}" type="slidenum">
              <a:rPr lang="en-US" noProof="0" smtClean="0"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1960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9.emf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17.xml"/><Relationship Id="rId10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AE819B-6FDD-5A77-E502-95D6B9BCE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55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AE819B-6FDD-5A77-E502-95D6B9BCE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0928E-4A76-25E1-C8FB-2470788D10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E443BDF0-E3E7-8FC9-71CD-F195F85F9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98" y="510363"/>
            <a:ext cx="707682" cy="700605"/>
          </a:xfrm>
          <a:prstGeom prst="rect">
            <a:avLst/>
          </a:prstGeom>
        </p:spPr>
      </p:pic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4CEAC7C7-28E0-6170-3C75-22B1E151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10049" y="615494"/>
            <a:ext cx="10172351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2800" b="1" dirty="0">
                <a:solidFill>
                  <a:srgbClr val="33404F"/>
                </a:solidFill>
                <a:latin typeface="Gilroy" panose="00000500000000000000" pitchFamily="50" charset="0"/>
              </a:defRPr>
            </a:lvl1pPr>
          </a:lstStyle>
          <a:p>
            <a:pPr marL="0"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4761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657021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400" b="0" i="0" dirty="0">
                <a:solidFill>
                  <a:srgbClr val="595959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9AC5426-5931-A103-9B2C-716C9813A178}"/>
              </a:ext>
            </a:extLst>
          </p:cNvPr>
          <p:cNvSpPr/>
          <p:nvPr userDrawn="1"/>
        </p:nvSpPr>
        <p:spPr>
          <a:xfrm>
            <a:off x="2336672" y="2631995"/>
            <a:ext cx="1464490" cy="6035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50F833-D35E-5E11-6A0E-0E4D43C650A3}"/>
              </a:ext>
            </a:extLst>
          </p:cNvPr>
          <p:cNvSpPr/>
          <p:nvPr userDrawn="1"/>
        </p:nvSpPr>
        <p:spPr>
          <a:xfrm>
            <a:off x="2336673" y="1909007"/>
            <a:ext cx="1464490" cy="6035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1182CA-431F-F0B6-86E7-DEDD84152C33}"/>
              </a:ext>
            </a:extLst>
          </p:cNvPr>
          <p:cNvSpPr/>
          <p:nvPr userDrawn="1"/>
        </p:nvSpPr>
        <p:spPr>
          <a:xfrm>
            <a:off x="688660" y="1909008"/>
            <a:ext cx="1521072" cy="1326491"/>
          </a:xfrm>
          <a:prstGeom prst="rect">
            <a:avLst/>
          </a:prstGeom>
          <a:solidFill>
            <a:schemeClr val="tx2"/>
          </a:solidFill>
          <a:ln w="15875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Helvetica" panose="020B0500000000000000" pitchFamily="34" charset="0"/>
              </a:rPr>
              <a:t>X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A26877-A7FB-E8D2-CD22-398BCAE2080E}"/>
              </a:ext>
            </a:extLst>
          </p:cNvPr>
          <p:cNvSpPr txBox="1">
            <a:spLocks/>
          </p:cNvSpPr>
          <p:nvPr userDrawn="1"/>
        </p:nvSpPr>
        <p:spPr>
          <a:xfrm>
            <a:off x="4330281" y="1909007"/>
            <a:ext cx="4587979" cy="438266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wrap="square" lIns="182880" tIns="91440" rIns="45720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</a:lstStyle>
          <a:p>
            <a:pPr marL="0" indent="0">
              <a:spcBef>
                <a:spcPts val="500"/>
              </a:spcBef>
              <a:spcAft>
                <a:spcPts val="2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XX</a:t>
            </a:r>
          </a:p>
          <a:p>
            <a:pPr>
              <a:spcBef>
                <a:spcPts val="500"/>
              </a:spcBef>
              <a:spcAft>
                <a:spcPts val="200"/>
              </a:spcAft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XX</a:t>
            </a:r>
          </a:p>
          <a:p>
            <a:pPr marL="0" indent="0">
              <a:spcBef>
                <a:spcPts val="1100"/>
              </a:spcBef>
              <a:spcAft>
                <a:spcPts val="2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XX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Bef>
                <a:spcPts val="500"/>
              </a:spcBef>
              <a:spcAft>
                <a:spcPts val="200"/>
              </a:spcAft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XX</a:t>
            </a:r>
          </a:p>
          <a:p>
            <a:pPr marL="0" indent="0">
              <a:spcBef>
                <a:spcPts val="500"/>
              </a:spcBef>
              <a:spcAft>
                <a:spcPts val="2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XX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16B543-926F-1C49-8995-06C77BE218B4}"/>
              </a:ext>
            </a:extLst>
          </p:cNvPr>
          <p:cNvSpPr/>
          <p:nvPr userDrawn="1"/>
        </p:nvSpPr>
        <p:spPr>
          <a:xfrm>
            <a:off x="688660" y="3370419"/>
            <a:ext cx="1521072" cy="1326491"/>
          </a:xfrm>
          <a:prstGeom prst="rect">
            <a:avLst/>
          </a:prstGeom>
          <a:solidFill>
            <a:schemeClr val="bg1">
              <a:lumMod val="65000"/>
            </a:schemeClr>
          </a:solidFill>
          <a:ln w="15875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Helvetica" panose="020B0500000000000000" pitchFamily="34" charset="0"/>
              </a:rPr>
              <a:t>X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E54E9E-F767-3097-D346-242D7F8D0A5A}"/>
              </a:ext>
            </a:extLst>
          </p:cNvPr>
          <p:cNvSpPr/>
          <p:nvPr userDrawn="1"/>
        </p:nvSpPr>
        <p:spPr>
          <a:xfrm>
            <a:off x="2336672" y="4093406"/>
            <a:ext cx="1464490" cy="60350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9504B0-0292-1965-272B-9B41AA48DD6A}"/>
              </a:ext>
            </a:extLst>
          </p:cNvPr>
          <p:cNvSpPr/>
          <p:nvPr userDrawn="1"/>
        </p:nvSpPr>
        <p:spPr>
          <a:xfrm>
            <a:off x="2336672" y="3370419"/>
            <a:ext cx="1464490" cy="60350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4F756E-CBF6-9531-D25B-2D39E4C92519}"/>
              </a:ext>
            </a:extLst>
          </p:cNvPr>
          <p:cNvGrpSpPr/>
          <p:nvPr userDrawn="1"/>
        </p:nvGrpSpPr>
        <p:grpSpPr>
          <a:xfrm>
            <a:off x="688661" y="1529829"/>
            <a:ext cx="3112501" cy="217493"/>
            <a:chOff x="457198" y="1529829"/>
            <a:chExt cx="3112501" cy="217493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55EFBB-9687-61BA-28D7-D13A114ED759}"/>
                </a:ext>
              </a:extLst>
            </p:cNvPr>
            <p:cNvSpPr txBox="1"/>
            <p:nvPr/>
          </p:nvSpPr>
          <p:spPr>
            <a:xfrm>
              <a:off x="457199" y="1529829"/>
              <a:ext cx="311250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algn="ctr">
                <a:defRPr sz="1400" b="1"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en-US" sz="1200" dirty="0"/>
                <a:t>XX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23D4A3C-A7B1-8628-E594-A107EC64713E}"/>
                </a:ext>
              </a:extLst>
            </p:cNvPr>
            <p:cNvCxnSpPr>
              <a:cxnSpLocks/>
            </p:cNvCxnSpPr>
            <p:nvPr/>
          </p:nvCxnSpPr>
          <p:spPr>
            <a:xfrm>
              <a:off x="457198" y="1747322"/>
              <a:ext cx="3112501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Line 3">
            <a:extLst>
              <a:ext uri="{FF2B5EF4-FFF2-40B4-BE49-F238E27FC236}">
                <a16:creationId xmlns:a16="http://schemas.microsoft.com/office/drawing/2014/main" id="{ECC2A736-254A-93A7-D4EA-1E8CDF8ACA8B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88659" y="4831045"/>
            <a:ext cx="310896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0F17EB-1667-8267-E201-94C76B570964}"/>
              </a:ext>
            </a:extLst>
          </p:cNvPr>
          <p:cNvSpPr/>
          <p:nvPr userDrawn="1"/>
        </p:nvSpPr>
        <p:spPr>
          <a:xfrm>
            <a:off x="2336673" y="5688167"/>
            <a:ext cx="1464490" cy="60350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FD481F-5370-F9E1-70DD-A24D8C65722C}"/>
              </a:ext>
            </a:extLst>
          </p:cNvPr>
          <p:cNvSpPr/>
          <p:nvPr userDrawn="1"/>
        </p:nvSpPr>
        <p:spPr>
          <a:xfrm>
            <a:off x="2336673" y="4965180"/>
            <a:ext cx="1464490" cy="60350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901953C-5658-4B55-2699-6B19CD469617}"/>
              </a:ext>
            </a:extLst>
          </p:cNvPr>
          <p:cNvSpPr/>
          <p:nvPr userDrawn="1"/>
        </p:nvSpPr>
        <p:spPr>
          <a:xfrm>
            <a:off x="688660" y="4965180"/>
            <a:ext cx="1521072" cy="1326491"/>
          </a:xfrm>
          <a:prstGeom prst="rect">
            <a:avLst/>
          </a:prstGeom>
          <a:solidFill>
            <a:schemeClr val="bg1">
              <a:lumMod val="65000"/>
            </a:schemeClr>
          </a:solidFill>
          <a:ln w="15875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Helvetica" panose="020B0500000000000000" pitchFamily="34" charset="0"/>
              </a:rPr>
              <a:t>XX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7BF9B8DE-07DB-9CBC-DDE1-DE7C467845AC}"/>
              </a:ext>
            </a:extLst>
          </p:cNvPr>
          <p:cNvSpPr/>
          <p:nvPr userDrawn="1"/>
        </p:nvSpPr>
        <p:spPr>
          <a:xfrm rot="5400000">
            <a:off x="3402476" y="2434633"/>
            <a:ext cx="1326489" cy="275238"/>
          </a:xfrm>
          <a:prstGeom prst="triangl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71C8DA2-09C6-4884-F8ED-8AD5ED7B43A9}"/>
              </a:ext>
            </a:extLst>
          </p:cNvPr>
          <p:cNvSpPr/>
          <p:nvPr userDrawn="1"/>
        </p:nvSpPr>
        <p:spPr>
          <a:xfrm>
            <a:off x="609600" y="1838320"/>
            <a:ext cx="253538" cy="253538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DC2622-7607-D73C-5CEC-71822315F8A4}"/>
              </a:ext>
            </a:extLst>
          </p:cNvPr>
          <p:cNvSpPr/>
          <p:nvPr userDrawn="1"/>
        </p:nvSpPr>
        <p:spPr>
          <a:xfrm>
            <a:off x="609600" y="3299731"/>
            <a:ext cx="253538" cy="2535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3C4E63-3800-3B07-E0AE-3D31E4F75EA3}"/>
              </a:ext>
            </a:extLst>
          </p:cNvPr>
          <p:cNvSpPr/>
          <p:nvPr userDrawn="1"/>
        </p:nvSpPr>
        <p:spPr>
          <a:xfrm>
            <a:off x="609600" y="4894492"/>
            <a:ext cx="253538" cy="2535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01318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657021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400" b="0" i="0" dirty="0">
                <a:solidFill>
                  <a:srgbClr val="595959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25CBE6A-6EA4-89E9-C154-792EB3BD1DF2}"/>
              </a:ext>
            </a:extLst>
          </p:cNvPr>
          <p:cNvGrpSpPr/>
          <p:nvPr userDrawn="1"/>
        </p:nvGrpSpPr>
        <p:grpSpPr>
          <a:xfrm>
            <a:off x="609600" y="1287553"/>
            <a:ext cx="10966452" cy="5040113"/>
            <a:chOff x="609600" y="1287553"/>
            <a:chExt cx="10966452" cy="5040113"/>
          </a:xfrm>
        </p:grpSpPr>
        <p:sp>
          <p:nvSpPr>
            <p:cNvPr id="5" name="Content Placeholder 10">
              <a:extLst>
                <a:ext uri="{FF2B5EF4-FFF2-40B4-BE49-F238E27FC236}">
                  <a16:creationId xmlns:a16="http://schemas.microsoft.com/office/drawing/2014/main" id="{C6D35832-44EE-13BB-6D69-FB074FF5662A}"/>
                </a:ext>
              </a:extLst>
            </p:cNvPr>
            <p:cNvSpPr txBox="1">
              <a:spLocks/>
            </p:cNvSpPr>
            <p:nvPr/>
          </p:nvSpPr>
          <p:spPr>
            <a:xfrm>
              <a:off x="609600" y="1287553"/>
              <a:ext cx="4488046" cy="286232"/>
            </a:xfrm>
            <a:prstGeom prst="rect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</a:ln>
          </p:spPr>
          <p:txBody>
            <a:bodyPr wrap="square" lIns="45720" tIns="45720" rIns="45720" bIns="45720" anchor="ctr" anchorCtr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Project Context &amp; Objective</a:t>
              </a:r>
              <a:endParaRPr lang="en-US" sz="1200" b="1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" name="Content Placeholder 10">
              <a:extLst>
                <a:ext uri="{FF2B5EF4-FFF2-40B4-BE49-F238E27FC236}">
                  <a16:creationId xmlns:a16="http://schemas.microsoft.com/office/drawing/2014/main" id="{58C9A122-A63C-0043-6388-BFD3DCE3EA91}"/>
                </a:ext>
              </a:extLst>
            </p:cNvPr>
            <p:cNvSpPr txBox="1">
              <a:spLocks/>
            </p:cNvSpPr>
            <p:nvPr/>
          </p:nvSpPr>
          <p:spPr>
            <a:xfrm>
              <a:off x="609600" y="1573784"/>
              <a:ext cx="4488046" cy="3211195"/>
            </a:xfrm>
            <a:prstGeom prst="rect">
              <a:avLst/>
            </a:prstGeom>
            <a:ln w="15875">
              <a:solidFill>
                <a:schemeClr val="tx2"/>
              </a:solidFill>
            </a:ln>
          </p:spPr>
          <p:txBody>
            <a:bodyPr lIns="91440" tIns="91440" rIns="91440" bIns="91440">
              <a:noAutofit/>
            </a:bodyPr>
            <a:lstStyle>
              <a:defPPr>
                <a:defRPr lang="en-US"/>
              </a:defPPr>
              <a:lvl1pPr indent="0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>
                  <a:latin typeface="+mj-lt"/>
                </a:defRPr>
              </a:lvl1pPr>
              <a:lvl2pPr marL="378000" lvl="1" indent="-18000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200" b="0">
                  <a:latin typeface="+mj-lt"/>
                </a:defRPr>
              </a:lvl2pPr>
              <a:lvl3pPr marL="55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/>
              </a:lvl3pPr>
              <a:lvl4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/>
              </a:lvl4pPr>
              <a:lvl5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/>
              </a:lvl5pPr>
              <a:lvl6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6pPr>
              <a:lvl7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231775" lvl="1" indent="-228600" rtl="0" fontAlgn="ctr"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XX</a:t>
              </a:r>
              <a:endParaRPr lang="en-US" sz="1400" dirty="0"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" name="Content Placeholder 10">
              <a:extLst>
                <a:ext uri="{FF2B5EF4-FFF2-40B4-BE49-F238E27FC236}">
                  <a16:creationId xmlns:a16="http://schemas.microsoft.com/office/drawing/2014/main" id="{332C8CA4-B1BB-8328-10F9-E323D0562AEE}"/>
                </a:ext>
              </a:extLst>
            </p:cNvPr>
            <p:cNvSpPr txBox="1">
              <a:spLocks/>
            </p:cNvSpPr>
            <p:nvPr/>
          </p:nvSpPr>
          <p:spPr>
            <a:xfrm>
              <a:off x="5239822" y="1287553"/>
              <a:ext cx="6336230" cy="286232"/>
            </a:xfrm>
            <a:prstGeom prst="rect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</a:ln>
          </p:spPr>
          <p:txBody>
            <a:bodyPr wrap="square" lIns="45720" tIns="45720" rIns="45720" bIns="45720" anchor="ctr" anchorCtr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Progress</a:t>
              </a:r>
              <a:endParaRPr lang="en-US" sz="1200" b="1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" name="Content Placeholder 10">
              <a:extLst>
                <a:ext uri="{FF2B5EF4-FFF2-40B4-BE49-F238E27FC236}">
                  <a16:creationId xmlns:a16="http://schemas.microsoft.com/office/drawing/2014/main" id="{92A2D86C-4948-1619-D5B3-581D0624904E}"/>
                </a:ext>
              </a:extLst>
            </p:cNvPr>
            <p:cNvSpPr txBox="1">
              <a:spLocks/>
            </p:cNvSpPr>
            <p:nvPr/>
          </p:nvSpPr>
          <p:spPr>
            <a:xfrm>
              <a:off x="5239822" y="1565834"/>
              <a:ext cx="6336230" cy="3220315"/>
            </a:xfrm>
            <a:prstGeom prst="rect">
              <a:avLst/>
            </a:prstGeom>
            <a:ln w="15875">
              <a:solidFill>
                <a:schemeClr val="tx2"/>
              </a:solidFill>
            </a:ln>
          </p:spPr>
          <p:txBody>
            <a:bodyPr lIns="91440" tIns="91440" rIns="91440" bIns="91440">
              <a:noAutofit/>
            </a:bodyPr>
            <a:lstStyle>
              <a:defPPr>
                <a:defRPr lang="en-US"/>
              </a:defPPr>
              <a:lvl1pPr indent="0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>
                  <a:latin typeface="+mj-lt"/>
                </a:defRPr>
              </a:lvl1pPr>
              <a:lvl2pPr marL="378000" lvl="1" indent="-18000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200" b="0">
                  <a:latin typeface="+mj-lt"/>
                </a:defRPr>
              </a:lvl2pPr>
              <a:lvl3pPr marL="55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/>
              </a:lvl3pPr>
              <a:lvl4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/>
              </a:lvl4pPr>
              <a:lvl5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/>
              </a:lvl5pPr>
              <a:lvl6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6pPr>
              <a:lvl7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231775" lvl="1" indent="-231775" fontAlgn="ctr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XX</a:t>
              </a:r>
            </a:p>
          </p:txBody>
        </p:sp>
        <p:sp>
          <p:nvSpPr>
            <p:cNvPr id="12" name="Content Placeholder 10">
              <a:extLst>
                <a:ext uri="{FF2B5EF4-FFF2-40B4-BE49-F238E27FC236}">
                  <a16:creationId xmlns:a16="http://schemas.microsoft.com/office/drawing/2014/main" id="{48D5FE56-3A8A-C19F-8636-19C4D33E0A8C}"/>
                </a:ext>
              </a:extLst>
            </p:cNvPr>
            <p:cNvSpPr txBox="1">
              <a:spLocks/>
            </p:cNvSpPr>
            <p:nvPr/>
          </p:nvSpPr>
          <p:spPr>
            <a:xfrm>
              <a:off x="609600" y="4966602"/>
              <a:ext cx="4488046" cy="286232"/>
            </a:xfrm>
            <a:prstGeom prst="rect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</a:ln>
          </p:spPr>
          <p:txBody>
            <a:bodyPr wrap="square" lIns="45720" tIns="45720" rIns="45720" bIns="45720" anchor="ctr" anchorCtr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Timeline / Milestones</a:t>
              </a:r>
              <a:endParaRPr lang="en-US" sz="1200" b="1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Content Placeholder 10">
              <a:extLst>
                <a:ext uri="{FF2B5EF4-FFF2-40B4-BE49-F238E27FC236}">
                  <a16:creationId xmlns:a16="http://schemas.microsoft.com/office/drawing/2014/main" id="{27B092C0-5B0A-922A-D76B-F1E026604B02}"/>
                </a:ext>
              </a:extLst>
            </p:cNvPr>
            <p:cNvSpPr txBox="1">
              <a:spLocks/>
            </p:cNvSpPr>
            <p:nvPr/>
          </p:nvSpPr>
          <p:spPr>
            <a:xfrm>
              <a:off x="609600" y="5252834"/>
              <a:ext cx="4488046" cy="1074832"/>
            </a:xfrm>
            <a:prstGeom prst="rect">
              <a:avLst/>
            </a:prstGeom>
            <a:ln w="15875">
              <a:solidFill>
                <a:schemeClr val="tx2"/>
              </a:solidFill>
            </a:ln>
          </p:spPr>
          <p:txBody>
            <a:bodyPr lIns="91440" tIns="91440" rIns="91440" bIns="91440">
              <a:noAutofit/>
            </a:bodyPr>
            <a:lstStyle>
              <a:defPPr>
                <a:defRPr lang="en-US"/>
              </a:defPPr>
              <a:lvl1pPr indent="0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>
                  <a:latin typeface="+mj-lt"/>
                </a:defRPr>
              </a:lvl1pPr>
              <a:lvl2pPr marL="378000" lvl="1" indent="-18000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200" b="0">
                  <a:latin typeface="+mj-lt"/>
                </a:defRPr>
              </a:lvl2pPr>
              <a:lvl3pPr marL="55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/>
              </a:lvl3pPr>
              <a:lvl4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/>
              </a:lvl4pPr>
              <a:lvl5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/>
              </a:lvl5pPr>
              <a:lvl6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6pPr>
              <a:lvl7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231775" indent="-231775"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b="0" dirty="0">
                  <a:effectLst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XX</a:t>
              </a:r>
            </a:p>
          </p:txBody>
        </p:sp>
        <p:sp>
          <p:nvSpPr>
            <p:cNvPr id="14" name="Content Placeholder 10">
              <a:extLst>
                <a:ext uri="{FF2B5EF4-FFF2-40B4-BE49-F238E27FC236}">
                  <a16:creationId xmlns:a16="http://schemas.microsoft.com/office/drawing/2014/main" id="{65F2633A-B747-3CC3-F21C-7C55E68EF217}"/>
                </a:ext>
              </a:extLst>
            </p:cNvPr>
            <p:cNvSpPr txBox="1">
              <a:spLocks/>
            </p:cNvSpPr>
            <p:nvPr/>
          </p:nvSpPr>
          <p:spPr>
            <a:xfrm>
              <a:off x="5239821" y="4966602"/>
              <a:ext cx="6336230" cy="286232"/>
            </a:xfrm>
            <a:prstGeom prst="rect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</a:ln>
          </p:spPr>
          <p:txBody>
            <a:bodyPr wrap="square" lIns="45720" tIns="45720" rIns="45720" bIns="45720" anchor="ctr" anchorCtr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400" b="1" dirty="0">
                  <a:solidFill>
                    <a:schemeClr val="bg1"/>
                  </a:solidFill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Next Steps</a:t>
              </a:r>
              <a:endParaRPr lang="en-US" sz="1200" b="1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" name="Content Placeholder 10">
              <a:extLst>
                <a:ext uri="{FF2B5EF4-FFF2-40B4-BE49-F238E27FC236}">
                  <a16:creationId xmlns:a16="http://schemas.microsoft.com/office/drawing/2014/main" id="{B8CC3A9B-66CE-3694-E036-4F39C35FB41D}"/>
                </a:ext>
              </a:extLst>
            </p:cNvPr>
            <p:cNvSpPr txBox="1">
              <a:spLocks/>
            </p:cNvSpPr>
            <p:nvPr/>
          </p:nvSpPr>
          <p:spPr>
            <a:xfrm>
              <a:off x="5239821" y="5252834"/>
              <a:ext cx="6336230" cy="1074832"/>
            </a:xfrm>
            <a:prstGeom prst="rect">
              <a:avLst/>
            </a:prstGeom>
            <a:ln w="15875">
              <a:solidFill>
                <a:schemeClr val="tx2"/>
              </a:solidFill>
            </a:ln>
          </p:spPr>
          <p:txBody>
            <a:bodyPr lIns="91440" tIns="91440" rIns="91440" bIns="91440">
              <a:noAutofit/>
            </a:bodyPr>
            <a:lstStyle>
              <a:defPPr>
                <a:defRPr lang="en-US"/>
              </a:defPPr>
              <a:lvl1pPr indent="0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>
                  <a:latin typeface="+mj-lt"/>
                </a:defRPr>
              </a:lvl1pPr>
              <a:lvl2pPr marL="378000" lvl="1" indent="-18000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200" b="0">
                  <a:latin typeface="+mj-lt"/>
                </a:defRPr>
              </a:lvl2pPr>
              <a:lvl3pPr marL="55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/>
              </a:lvl3pPr>
              <a:lvl4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/>
              </a:lvl4pPr>
              <a:lvl5pPr marL="738000" indent="-179388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/>
              </a:lvl5pPr>
              <a:lvl6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6pPr>
              <a:lvl7pPr marL="717550" indent="-179388">
                <a:spcBef>
                  <a:spcPct val="20000"/>
                </a:spcBef>
                <a:buFont typeface="Arial" panose="020B0604020202020204" pitchFamily="34" charset="0"/>
                <a:buChar char="–"/>
                <a:defRPr sz="16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236538" indent="-236538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en-US" b="0" dirty="0"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7041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574DFC-DC95-F1DA-BAF4-64319143D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112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574DFC-DC95-F1DA-BAF4-64319143D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9BDFF3A-9EE6-6661-1346-65CD400894BC}"/>
              </a:ext>
            </a:extLst>
          </p:cNvPr>
          <p:cNvSpPr/>
          <p:nvPr userDrawn="1"/>
        </p:nvSpPr>
        <p:spPr>
          <a:xfrm>
            <a:off x="-1569" y="-32872"/>
            <a:ext cx="12215810" cy="6892381"/>
          </a:xfrm>
          <a:prstGeom prst="rect">
            <a:avLst/>
          </a:prstGeom>
          <a:solidFill>
            <a:srgbClr val="334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8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8C17CDC-94BA-4056-C212-4CA96EAAC9D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0453" y="-34381"/>
            <a:ext cx="7795399" cy="6892381"/>
          </a:xfrm>
          <a:prstGeom prst="rect">
            <a:avLst/>
          </a:prstGeom>
          <a:noFill/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660C941-58B7-8C59-3903-7D0FBB15BC10}"/>
              </a:ext>
            </a:extLst>
          </p:cNvPr>
          <p:cNvSpPr/>
          <p:nvPr userDrawn="1"/>
        </p:nvSpPr>
        <p:spPr>
          <a:xfrm>
            <a:off x="12944018" y="2245424"/>
            <a:ext cx="172787" cy="2159831"/>
          </a:xfrm>
          <a:prstGeom prst="rect">
            <a:avLst/>
          </a:prstGeom>
          <a:solidFill>
            <a:srgbClr val="FFAB2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AD4C23-05C1-4A63-F91D-6FA830C52A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0042" y="794646"/>
            <a:ext cx="1782941" cy="472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4CE0246-33C2-BB00-3F5E-9142CEF68C79}"/>
              </a:ext>
            </a:extLst>
          </p:cNvPr>
          <p:cNvCxnSpPr>
            <a:cxnSpLocks/>
          </p:cNvCxnSpPr>
          <p:nvPr userDrawn="1"/>
        </p:nvCxnSpPr>
        <p:spPr>
          <a:xfrm>
            <a:off x="900042" y="4701961"/>
            <a:ext cx="1784021" cy="0"/>
          </a:xfrm>
          <a:prstGeom prst="line">
            <a:avLst/>
          </a:prstGeom>
          <a:ln w="63500">
            <a:solidFill>
              <a:srgbClr val="FFAB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5ECD71AC-DD23-F939-3442-5C360CDA6FF6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825366" y="6521738"/>
            <a:ext cx="366634" cy="336263"/>
          </a:xfrm>
          <a:prstGeom prst="rect">
            <a:avLst/>
          </a:prstGeom>
        </p:spPr>
        <p:txBody>
          <a:bodyPr/>
          <a:lstStyle/>
          <a:p>
            <a:fld id="{55939D5A-F909-DD46-ABD9-975AC85009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99D83AD7-F757-5337-4385-341F2C0C2DB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00042" y="3912001"/>
            <a:ext cx="10972800" cy="686851"/>
          </a:xfrm>
          <a:prstGeom prst="rect">
            <a:avLst/>
          </a:prstGeom>
          <a:noFill/>
        </p:spPr>
        <p:txBody>
          <a:bodyPr wrap="square" lIns="54860" tIns="27430" rIns="54860" bIns="27430" rtlCol="0" anchor="b">
            <a:spAutoFit/>
          </a:bodyPr>
          <a:lstStyle>
            <a:lvl1pPr marL="0" indent="0">
              <a:buNone/>
              <a:defRPr lang="en-US" sz="44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marL="0" lvl="0"/>
            <a:r>
              <a:rPr lang="en-US" dirty="0"/>
              <a:t>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6158D4E8-9FEF-5B1E-61E2-330EA230F2FE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00042" y="4863005"/>
            <a:ext cx="10972800" cy="360095"/>
          </a:xfrm>
          <a:prstGeom prst="rect">
            <a:avLst/>
          </a:prstGeom>
          <a:noFill/>
        </p:spPr>
        <p:txBody>
          <a:bodyPr wrap="square" lIns="54860" tIns="27430" rIns="54860" bIns="27430" rtlCol="0" anchor="t">
            <a:sp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marL="0"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038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29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D260FED-F9FE-FA65-D063-B436376389A4}"/>
              </a:ext>
            </a:extLst>
          </p:cNvPr>
          <p:cNvSpPr/>
          <p:nvPr userDrawn="1"/>
        </p:nvSpPr>
        <p:spPr>
          <a:xfrm>
            <a:off x="1" y="1"/>
            <a:ext cx="12191999" cy="6857999"/>
          </a:xfrm>
          <a:prstGeom prst="rect">
            <a:avLst/>
          </a:prstGeom>
          <a:solidFill>
            <a:srgbClr val="3340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C83F7EBE-FA65-3258-CABD-208DCDDC27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2314" y="2"/>
            <a:ext cx="8929686" cy="6857998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19B51A1E-902D-48AF-9020-955120F399B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519C5D-74BF-DF66-B5D0-97E8C3848D49}"/>
              </a:ext>
            </a:extLst>
          </p:cNvPr>
          <p:cNvSpPr/>
          <p:nvPr userDrawn="1"/>
        </p:nvSpPr>
        <p:spPr>
          <a:xfrm>
            <a:off x="11904000" y="1629000"/>
            <a:ext cx="288000" cy="3600000"/>
          </a:xfrm>
          <a:prstGeom prst="rect">
            <a:avLst/>
          </a:prstGeom>
          <a:solidFill>
            <a:srgbClr val="FFAB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EAC1B5D-FB54-4E8A-709B-570F6CEB224E}"/>
              </a:ext>
            </a:extLst>
          </p:cNvPr>
          <p:cNvGrpSpPr/>
          <p:nvPr userDrawn="1"/>
        </p:nvGrpSpPr>
        <p:grpSpPr>
          <a:xfrm>
            <a:off x="900113" y="573995"/>
            <a:ext cx="477837" cy="481011"/>
            <a:chOff x="900113" y="790576"/>
            <a:chExt cx="477837" cy="48101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ACAC64DD-F57A-9241-5B05-26B5697744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0113" y="865188"/>
              <a:ext cx="200025" cy="165100"/>
            </a:xfrm>
            <a:custGeom>
              <a:avLst/>
              <a:gdLst>
                <a:gd name="T0" fmla="*/ 339 w 347"/>
                <a:gd name="T1" fmla="*/ 243 h 283"/>
                <a:gd name="T2" fmla="*/ 339 w 347"/>
                <a:gd name="T3" fmla="*/ 243 h 283"/>
                <a:gd name="T4" fmla="*/ 117 w 347"/>
                <a:gd name="T5" fmla="*/ 0 h 283"/>
                <a:gd name="T6" fmla="*/ 0 w 347"/>
                <a:gd name="T7" fmla="*/ 283 h 283"/>
                <a:gd name="T8" fmla="*/ 329 w 347"/>
                <a:gd name="T9" fmla="*/ 267 h 283"/>
                <a:gd name="T10" fmla="*/ 339 w 347"/>
                <a:gd name="T11" fmla="*/ 2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7" h="283">
                  <a:moveTo>
                    <a:pt x="339" y="243"/>
                  </a:moveTo>
                  <a:lnTo>
                    <a:pt x="339" y="243"/>
                  </a:lnTo>
                  <a:lnTo>
                    <a:pt x="117" y="0"/>
                  </a:lnTo>
                  <a:cubicBezTo>
                    <a:pt x="46" y="73"/>
                    <a:pt x="1" y="173"/>
                    <a:pt x="0" y="283"/>
                  </a:cubicBezTo>
                  <a:lnTo>
                    <a:pt x="329" y="267"/>
                  </a:lnTo>
                  <a:cubicBezTo>
                    <a:pt x="341" y="267"/>
                    <a:pt x="347" y="252"/>
                    <a:pt x="339" y="243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AB41B5C-A74C-A0B9-FAF8-B9CE777B24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0113" y="1038225"/>
              <a:ext cx="200025" cy="165100"/>
            </a:xfrm>
            <a:custGeom>
              <a:avLst/>
              <a:gdLst>
                <a:gd name="T0" fmla="*/ 329 w 347"/>
                <a:gd name="T1" fmla="*/ 15 h 283"/>
                <a:gd name="T2" fmla="*/ 329 w 347"/>
                <a:gd name="T3" fmla="*/ 15 h 283"/>
                <a:gd name="T4" fmla="*/ 0 w 347"/>
                <a:gd name="T5" fmla="*/ 0 h 283"/>
                <a:gd name="T6" fmla="*/ 117 w 347"/>
                <a:gd name="T7" fmla="*/ 283 h 283"/>
                <a:gd name="T8" fmla="*/ 339 w 347"/>
                <a:gd name="T9" fmla="*/ 39 h 283"/>
                <a:gd name="T10" fmla="*/ 329 w 347"/>
                <a:gd name="T11" fmla="*/ 1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7" h="283">
                  <a:moveTo>
                    <a:pt x="329" y="15"/>
                  </a:moveTo>
                  <a:lnTo>
                    <a:pt x="329" y="15"/>
                  </a:lnTo>
                  <a:lnTo>
                    <a:pt x="0" y="0"/>
                  </a:lnTo>
                  <a:cubicBezTo>
                    <a:pt x="1" y="110"/>
                    <a:pt x="46" y="209"/>
                    <a:pt x="117" y="283"/>
                  </a:cubicBezTo>
                  <a:lnTo>
                    <a:pt x="339" y="39"/>
                  </a:lnTo>
                  <a:cubicBezTo>
                    <a:pt x="347" y="30"/>
                    <a:pt x="341" y="15"/>
                    <a:pt x="329" y="15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F7FFED9-4D61-9917-63F7-E213E7C66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3138" y="790576"/>
              <a:ext cx="161925" cy="203200"/>
            </a:xfrm>
            <a:custGeom>
              <a:avLst/>
              <a:gdLst>
                <a:gd name="T0" fmla="*/ 283 w 283"/>
                <a:gd name="T1" fmla="*/ 0 h 347"/>
                <a:gd name="T2" fmla="*/ 283 w 283"/>
                <a:gd name="T3" fmla="*/ 0 h 347"/>
                <a:gd name="T4" fmla="*/ 0 w 283"/>
                <a:gd name="T5" fmla="*/ 116 h 347"/>
                <a:gd name="T6" fmla="*/ 244 w 283"/>
                <a:gd name="T7" fmla="*/ 339 h 347"/>
                <a:gd name="T8" fmla="*/ 268 w 283"/>
                <a:gd name="T9" fmla="*/ 329 h 347"/>
                <a:gd name="T10" fmla="*/ 283 w 283"/>
                <a:gd name="T11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3" h="347">
                  <a:moveTo>
                    <a:pt x="283" y="0"/>
                  </a:moveTo>
                  <a:lnTo>
                    <a:pt x="283" y="0"/>
                  </a:lnTo>
                  <a:cubicBezTo>
                    <a:pt x="173" y="2"/>
                    <a:pt x="73" y="45"/>
                    <a:pt x="0" y="116"/>
                  </a:cubicBezTo>
                  <a:lnTo>
                    <a:pt x="244" y="339"/>
                  </a:lnTo>
                  <a:cubicBezTo>
                    <a:pt x="253" y="347"/>
                    <a:pt x="267" y="341"/>
                    <a:pt x="268" y="329"/>
                  </a:cubicBezTo>
                  <a:lnTo>
                    <a:pt x="283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73F1F3D9-FD74-FFC9-902F-D5A0CC47D3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925" y="1038225"/>
              <a:ext cx="200025" cy="165100"/>
            </a:xfrm>
            <a:custGeom>
              <a:avLst/>
              <a:gdLst>
                <a:gd name="T0" fmla="*/ 8 w 348"/>
                <a:gd name="T1" fmla="*/ 39 h 283"/>
                <a:gd name="T2" fmla="*/ 8 w 348"/>
                <a:gd name="T3" fmla="*/ 39 h 283"/>
                <a:gd name="T4" fmla="*/ 230 w 348"/>
                <a:gd name="T5" fmla="*/ 283 h 283"/>
                <a:gd name="T6" fmla="*/ 348 w 348"/>
                <a:gd name="T7" fmla="*/ 0 h 283"/>
                <a:gd name="T8" fmla="*/ 18 w 348"/>
                <a:gd name="T9" fmla="*/ 15 h 283"/>
                <a:gd name="T10" fmla="*/ 8 w 348"/>
                <a:gd name="T11" fmla="*/ 3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8" h="283">
                  <a:moveTo>
                    <a:pt x="8" y="39"/>
                  </a:moveTo>
                  <a:lnTo>
                    <a:pt x="8" y="39"/>
                  </a:lnTo>
                  <a:lnTo>
                    <a:pt x="230" y="283"/>
                  </a:lnTo>
                  <a:cubicBezTo>
                    <a:pt x="302" y="209"/>
                    <a:pt x="346" y="110"/>
                    <a:pt x="348" y="0"/>
                  </a:cubicBezTo>
                  <a:lnTo>
                    <a:pt x="18" y="15"/>
                  </a:lnTo>
                  <a:cubicBezTo>
                    <a:pt x="6" y="16"/>
                    <a:pt x="0" y="30"/>
                    <a:pt x="8" y="39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D668C3-A26A-875C-E4DB-ED5B91B61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925" y="865188"/>
              <a:ext cx="200025" cy="165100"/>
            </a:xfrm>
            <a:custGeom>
              <a:avLst/>
              <a:gdLst>
                <a:gd name="T0" fmla="*/ 18 w 348"/>
                <a:gd name="T1" fmla="*/ 267 h 283"/>
                <a:gd name="T2" fmla="*/ 18 w 348"/>
                <a:gd name="T3" fmla="*/ 267 h 283"/>
                <a:gd name="T4" fmla="*/ 348 w 348"/>
                <a:gd name="T5" fmla="*/ 283 h 283"/>
                <a:gd name="T6" fmla="*/ 230 w 348"/>
                <a:gd name="T7" fmla="*/ 0 h 283"/>
                <a:gd name="T8" fmla="*/ 8 w 348"/>
                <a:gd name="T9" fmla="*/ 243 h 283"/>
                <a:gd name="T10" fmla="*/ 18 w 348"/>
                <a:gd name="T11" fmla="*/ 26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8" h="283">
                  <a:moveTo>
                    <a:pt x="18" y="267"/>
                  </a:moveTo>
                  <a:lnTo>
                    <a:pt x="18" y="267"/>
                  </a:lnTo>
                  <a:lnTo>
                    <a:pt x="348" y="283"/>
                  </a:lnTo>
                  <a:cubicBezTo>
                    <a:pt x="346" y="173"/>
                    <a:pt x="302" y="73"/>
                    <a:pt x="230" y="0"/>
                  </a:cubicBezTo>
                  <a:lnTo>
                    <a:pt x="8" y="243"/>
                  </a:lnTo>
                  <a:cubicBezTo>
                    <a:pt x="0" y="252"/>
                    <a:pt x="6" y="267"/>
                    <a:pt x="18" y="267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55960F3-927C-314E-8309-A0D7B0DA9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000" y="790576"/>
              <a:ext cx="161925" cy="203200"/>
            </a:xfrm>
            <a:custGeom>
              <a:avLst/>
              <a:gdLst>
                <a:gd name="T0" fmla="*/ 283 w 283"/>
                <a:gd name="T1" fmla="*/ 116 h 347"/>
                <a:gd name="T2" fmla="*/ 283 w 283"/>
                <a:gd name="T3" fmla="*/ 116 h 347"/>
                <a:gd name="T4" fmla="*/ 0 w 283"/>
                <a:gd name="T5" fmla="*/ 0 h 347"/>
                <a:gd name="T6" fmla="*/ 15 w 283"/>
                <a:gd name="T7" fmla="*/ 329 h 347"/>
                <a:gd name="T8" fmla="*/ 39 w 283"/>
                <a:gd name="T9" fmla="*/ 339 h 347"/>
                <a:gd name="T10" fmla="*/ 283 w 283"/>
                <a:gd name="T11" fmla="*/ 11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3" h="347">
                  <a:moveTo>
                    <a:pt x="283" y="116"/>
                  </a:moveTo>
                  <a:lnTo>
                    <a:pt x="283" y="116"/>
                  </a:lnTo>
                  <a:cubicBezTo>
                    <a:pt x="210" y="45"/>
                    <a:pt x="110" y="2"/>
                    <a:pt x="0" y="0"/>
                  </a:cubicBezTo>
                  <a:lnTo>
                    <a:pt x="15" y="329"/>
                  </a:lnTo>
                  <a:cubicBezTo>
                    <a:pt x="16" y="341"/>
                    <a:pt x="30" y="347"/>
                    <a:pt x="39" y="339"/>
                  </a:cubicBezTo>
                  <a:lnTo>
                    <a:pt x="283" y="116"/>
                  </a:ln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01D43661-F816-1F7E-234A-9190D11B6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0463" y="1079500"/>
              <a:ext cx="144462" cy="192087"/>
            </a:xfrm>
            <a:custGeom>
              <a:avLst/>
              <a:gdLst>
                <a:gd name="T0" fmla="*/ 1 w 251"/>
                <a:gd name="T1" fmla="*/ 13 h 329"/>
                <a:gd name="T2" fmla="*/ 1 w 251"/>
                <a:gd name="T3" fmla="*/ 13 h 329"/>
                <a:gd name="T4" fmla="*/ 49 w 251"/>
                <a:gd name="T5" fmla="*/ 329 h 329"/>
                <a:gd name="T6" fmla="*/ 251 w 251"/>
                <a:gd name="T7" fmla="*/ 221 h 329"/>
                <a:gd name="T8" fmla="*/ 15 w 251"/>
                <a:gd name="T9" fmla="*/ 6 h 329"/>
                <a:gd name="T10" fmla="*/ 1 w 251"/>
                <a:gd name="T11" fmla="*/ 13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329">
                  <a:moveTo>
                    <a:pt x="1" y="13"/>
                  </a:moveTo>
                  <a:lnTo>
                    <a:pt x="1" y="13"/>
                  </a:lnTo>
                  <a:lnTo>
                    <a:pt x="49" y="329"/>
                  </a:lnTo>
                  <a:cubicBezTo>
                    <a:pt x="126" y="313"/>
                    <a:pt x="196" y="274"/>
                    <a:pt x="251" y="221"/>
                  </a:cubicBezTo>
                  <a:lnTo>
                    <a:pt x="15" y="6"/>
                  </a:lnTo>
                  <a:cubicBezTo>
                    <a:pt x="9" y="0"/>
                    <a:pt x="0" y="5"/>
                    <a:pt x="1" y="13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C2A47102-B8AC-5AE0-91B0-A0E39531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3138" y="1079500"/>
              <a:ext cx="144462" cy="192087"/>
            </a:xfrm>
            <a:custGeom>
              <a:avLst/>
              <a:gdLst>
                <a:gd name="T0" fmla="*/ 237 w 252"/>
                <a:gd name="T1" fmla="*/ 5 h 329"/>
                <a:gd name="T2" fmla="*/ 237 w 252"/>
                <a:gd name="T3" fmla="*/ 5 h 329"/>
                <a:gd name="T4" fmla="*/ 0 w 252"/>
                <a:gd name="T5" fmla="*/ 221 h 329"/>
                <a:gd name="T6" fmla="*/ 205 w 252"/>
                <a:gd name="T7" fmla="*/ 329 h 329"/>
                <a:gd name="T8" fmla="*/ 251 w 252"/>
                <a:gd name="T9" fmla="*/ 13 h 329"/>
                <a:gd name="T10" fmla="*/ 237 w 252"/>
                <a:gd name="T11" fmla="*/ 5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2" h="329">
                  <a:moveTo>
                    <a:pt x="237" y="5"/>
                  </a:moveTo>
                  <a:lnTo>
                    <a:pt x="237" y="5"/>
                  </a:lnTo>
                  <a:lnTo>
                    <a:pt x="0" y="221"/>
                  </a:lnTo>
                  <a:cubicBezTo>
                    <a:pt x="55" y="275"/>
                    <a:pt x="126" y="313"/>
                    <a:pt x="205" y="329"/>
                  </a:cubicBezTo>
                  <a:lnTo>
                    <a:pt x="251" y="13"/>
                  </a:lnTo>
                  <a:cubicBezTo>
                    <a:pt x="252" y="5"/>
                    <a:pt x="243" y="0"/>
                    <a:pt x="237" y="5"/>
                  </a:cubicBezTo>
                  <a:close/>
                </a:path>
              </a:pathLst>
            </a:custGeom>
            <a:solidFill>
              <a:srgbClr val="FEFEF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A0682B7B-001C-2205-9071-1955231807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172" y="1013778"/>
              <a:ext cx="45720" cy="45720"/>
            </a:xfrm>
            <a:custGeom>
              <a:avLst/>
              <a:gdLst>
                <a:gd name="T0" fmla="*/ 71 w 71"/>
                <a:gd name="T1" fmla="*/ 36 h 72"/>
                <a:gd name="T2" fmla="*/ 71 w 71"/>
                <a:gd name="T3" fmla="*/ 36 h 72"/>
                <a:gd name="T4" fmla="*/ 36 w 71"/>
                <a:gd name="T5" fmla="*/ 72 h 72"/>
                <a:gd name="T6" fmla="*/ 0 w 71"/>
                <a:gd name="T7" fmla="*/ 36 h 72"/>
                <a:gd name="T8" fmla="*/ 36 w 71"/>
                <a:gd name="T9" fmla="*/ 0 h 72"/>
                <a:gd name="T10" fmla="*/ 71 w 71"/>
                <a:gd name="T11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72">
                  <a:moveTo>
                    <a:pt x="71" y="36"/>
                  </a:moveTo>
                  <a:lnTo>
                    <a:pt x="71" y="36"/>
                  </a:lnTo>
                  <a:cubicBezTo>
                    <a:pt x="71" y="56"/>
                    <a:pt x="55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1" y="16"/>
                    <a:pt x="71" y="36"/>
                  </a:cubicBezTo>
                  <a:close/>
                </a:path>
              </a:pathLst>
            </a:custGeom>
            <a:solidFill>
              <a:srgbClr val="FFAB21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B1F514-3E53-E0D5-75F3-47E693270CBA}"/>
              </a:ext>
            </a:extLst>
          </p:cNvPr>
          <p:cNvCxnSpPr>
            <a:cxnSpLocks/>
          </p:cNvCxnSpPr>
          <p:nvPr userDrawn="1"/>
        </p:nvCxnSpPr>
        <p:spPr>
          <a:xfrm>
            <a:off x="900042" y="2271315"/>
            <a:ext cx="3541238" cy="0"/>
          </a:xfrm>
          <a:prstGeom prst="line">
            <a:avLst/>
          </a:prstGeom>
          <a:ln w="53340">
            <a:solidFill>
              <a:srgbClr val="FFAB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6">
            <a:extLst>
              <a:ext uri="{FF2B5EF4-FFF2-40B4-BE49-F238E27FC236}">
                <a16:creationId xmlns:a16="http://schemas.microsoft.com/office/drawing/2014/main" id="{B25A9994-4CC6-A004-C04E-2C5772DB7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0042" y="1744755"/>
            <a:ext cx="6822913" cy="31447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4800" b="0" kern="1200" spc="0" baseline="0" dirty="0" smtClean="0">
                <a:solidFill>
                  <a:schemeClr val="bg1"/>
                </a:solidFill>
                <a:latin typeface="Gilroy"/>
                <a:ea typeface="+mj-ea"/>
                <a:cs typeface="+mj-cs"/>
              </a:defRPr>
            </a:lvl1pPr>
          </a:lstStyle>
          <a:p>
            <a:pPr marL="0" lvl="0" algn="l" defTabSz="914400" rtl="0" eaLnBrk="1" latinLnBrk="0" hangingPunct="1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9086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582373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800" b="1" i="0" dirty="0">
                <a:solidFill>
                  <a:schemeClr val="accent1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D2CA2A90-37FA-FFED-F086-AAF8F7FF0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1" y="1069882"/>
            <a:ext cx="10972799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2400" b="0" dirty="0">
                <a:solidFill>
                  <a:schemeClr val="accent2">
                    <a:lumMod val="75000"/>
                  </a:schemeClr>
                </a:solidFill>
                <a:latin typeface="Gilroy" panose="00000500000000000000" pitchFamily="50" charset="0"/>
              </a:defRPr>
            </a:lvl1pPr>
          </a:lstStyle>
          <a:p>
            <a:pPr marL="0" lvl="0"/>
            <a:r>
              <a:rPr lang="en-US" dirty="0"/>
              <a:t>Edit Master text sty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746B557-5CD9-330C-4037-E026BCC3FF1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25682" y="1810139"/>
            <a:ext cx="5156718" cy="4432368"/>
          </a:xfrm>
          <a:prstGeom prst="rect">
            <a:avLst/>
          </a:prstGeom>
        </p:spPr>
        <p:txBody>
          <a:bodyPr lIns="0" rIns="0"/>
          <a:lstStyle>
            <a:lvl1pPr>
              <a:buClr>
                <a:srgbClr val="595959"/>
              </a:buClr>
              <a:defRPr lang="en-US" sz="1400" noProof="0" dirty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95959"/>
              </a:buClr>
              <a:defRPr lang="en-US" sz="1200" noProof="0" dirty="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4pPr>
            <a:lvl5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5pPr>
          </a:lstStyle>
          <a:p>
            <a:pPr marL="227013" lvl="0" indent="-227013"/>
            <a:r>
              <a:rPr lang="en-US" noProof="0" dirty="0"/>
              <a:t>Click to edit Master text styles</a:t>
            </a:r>
          </a:p>
          <a:p>
            <a:pPr marL="461963" lvl="1" indent="-227013"/>
            <a:r>
              <a:rPr lang="en-US" noProof="0" dirty="0"/>
              <a:t>Second level</a:t>
            </a:r>
          </a:p>
          <a:p>
            <a:pPr marL="687388" lvl="2" indent="-207963"/>
            <a:r>
              <a:rPr lang="en-US" noProof="0" dirty="0"/>
              <a:t>Third level</a:t>
            </a:r>
          </a:p>
          <a:p>
            <a:pPr marL="914400" lvl="3" indent="-207963"/>
            <a:r>
              <a:rPr lang="en-US" noProof="0" dirty="0"/>
              <a:t>Fourth level</a:t>
            </a:r>
          </a:p>
          <a:p>
            <a:pPr marL="1141413" lvl="4" indent="-207963"/>
            <a:r>
              <a:rPr lang="en-US" noProof="0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F3BDE3-B529-4468-134A-5A1C9A367066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09601" y="1810139"/>
            <a:ext cx="5156718" cy="4432368"/>
          </a:xfrm>
          <a:prstGeom prst="rect">
            <a:avLst/>
          </a:prstGeom>
        </p:spPr>
        <p:txBody>
          <a:bodyPr lIns="0" rIns="0"/>
          <a:lstStyle>
            <a:lvl1pPr>
              <a:buClr>
                <a:srgbClr val="595959"/>
              </a:buClr>
              <a:defRPr lang="en-US" sz="1400" noProof="0" dirty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95959"/>
              </a:buClr>
              <a:defRPr lang="en-US" sz="1200" noProof="0" dirty="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4pPr>
            <a:lvl5pPr>
              <a:buClr>
                <a:srgbClr val="595959"/>
              </a:buClr>
              <a:defRPr lang="en-US" sz="1100" noProof="0" dirty="0">
                <a:solidFill>
                  <a:schemeClr val="tx1"/>
                </a:solidFill>
                <a:latin typeface="+mn-lt"/>
              </a:defRPr>
            </a:lvl5pPr>
          </a:lstStyle>
          <a:p>
            <a:pPr marL="227013" lvl="0" indent="-227013"/>
            <a:r>
              <a:rPr lang="en-US" noProof="0" dirty="0"/>
              <a:t>Click to edit Master text styles</a:t>
            </a:r>
          </a:p>
          <a:p>
            <a:pPr marL="461963" lvl="1" indent="-227013"/>
            <a:r>
              <a:rPr lang="en-US" noProof="0" dirty="0"/>
              <a:t>Second level</a:t>
            </a:r>
          </a:p>
          <a:p>
            <a:pPr marL="687388" lvl="2" indent="-207963"/>
            <a:r>
              <a:rPr lang="en-US" noProof="0" dirty="0"/>
              <a:t>Third level</a:t>
            </a:r>
          </a:p>
          <a:p>
            <a:pPr marL="914400" lvl="3" indent="-207963"/>
            <a:r>
              <a:rPr lang="en-US" noProof="0" dirty="0"/>
              <a:t>Fourth level</a:t>
            </a:r>
          </a:p>
          <a:p>
            <a:pPr marL="1141413" lvl="4" indent="-207963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4823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582373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800" b="1" i="0" dirty="0">
                <a:solidFill>
                  <a:schemeClr val="accent1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815D0F6-65CA-F238-161D-921AB0FA84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1" y="6529386"/>
            <a:ext cx="10691673" cy="20610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151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69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003E3D68-1A0E-FB30-6BCD-DF1A4D7BFDFD}"/>
              </a:ext>
            </a:extLst>
          </p:cNvPr>
          <p:cNvSpPr txBox="1">
            <a:spLocks/>
          </p:cNvSpPr>
          <p:nvPr userDrawn="1"/>
        </p:nvSpPr>
        <p:spPr>
          <a:xfrm>
            <a:off x="609600" y="1561541"/>
            <a:ext cx="5257800" cy="913052"/>
          </a:xfrm>
          <a:prstGeom prst="rect">
            <a:avLst/>
          </a:prstGeom>
          <a:ln w="15875"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/>
            <a:r>
              <a:rPr lang="en-US" sz="1600" dirty="0">
                <a:latin typeface="+mn-lt"/>
              </a:rPr>
              <a:t>Use for boxes</a:t>
            </a:r>
          </a:p>
          <a:p>
            <a:pPr marL="400050" lvl="1" indent="-144463">
              <a:spcBef>
                <a:spcPts val="300"/>
              </a:spcBef>
            </a:pPr>
            <a:r>
              <a:rPr lang="en-US" sz="1400" dirty="0">
                <a:latin typeface="+mn-lt"/>
              </a:rPr>
              <a:t>XX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BB6EB5A-13A0-0906-E0C9-2EAA3380531A}"/>
              </a:ext>
            </a:extLst>
          </p:cNvPr>
          <p:cNvSpPr txBox="1">
            <a:spLocks/>
          </p:cNvSpPr>
          <p:nvPr userDrawn="1"/>
        </p:nvSpPr>
        <p:spPr>
          <a:xfrm>
            <a:off x="4450081" y="5401128"/>
            <a:ext cx="3291840" cy="913052"/>
          </a:xfrm>
          <a:prstGeom prst="rect">
            <a:avLst/>
          </a:prstGeom>
          <a:ln w="15875"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latin typeface="+mn-lt"/>
              </a:rPr>
              <a:t>Quarter length</a:t>
            </a:r>
          </a:p>
          <a:p>
            <a:r>
              <a:rPr lang="en-US" sz="1400" dirty="0">
                <a:latin typeface="+mn-lt"/>
              </a:rPr>
              <a:t>XX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latin typeface="+mn-lt"/>
              </a:rPr>
              <a:t>XX</a:t>
            </a:r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B357DFAC-E2E5-5D03-3D19-CDE26D804620}"/>
              </a:ext>
            </a:extLst>
          </p:cNvPr>
          <p:cNvSpPr txBox="1">
            <a:spLocks/>
          </p:cNvSpPr>
          <p:nvPr userDrawn="1"/>
        </p:nvSpPr>
        <p:spPr>
          <a:xfrm>
            <a:off x="8290561" y="5401128"/>
            <a:ext cx="3291840" cy="9130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5875">
            <a:noFill/>
          </a:ln>
        </p:spPr>
        <p:txBody>
          <a:bodyPr lIns="91440" tIns="91440" rIns="91440" bIns="9144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>
                <a:latin typeface="+mn-lt"/>
              </a:rPr>
              <a:t>Shaded no border</a:t>
            </a:r>
            <a:endParaRPr lang="en-US" sz="1200" dirty="0">
              <a:latin typeface="+mn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C3CDAD-0010-73AC-EE7A-CDAD4C6323E9}"/>
              </a:ext>
            </a:extLst>
          </p:cNvPr>
          <p:cNvSpPr txBox="1">
            <a:spLocks/>
          </p:cNvSpPr>
          <p:nvPr userDrawn="1"/>
        </p:nvSpPr>
        <p:spPr>
          <a:xfrm>
            <a:off x="609601" y="5401128"/>
            <a:ext cx="3291840" cy="913052"/>
          </a:xfrm>
          <a:prstGeom prst="rect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Shaded dark</a:t>
            </a:r>
          </a:p>
          <a:p>
            <a:r>
              <a:rPr lang="en-US" sz="1400" dirty="0">
                <a:solidFill>
                  <a:schemeClr val="bg1"/>
                </a:solidFill>
                <a:latin typeface="+mn-lt"/>
              </a:rPr>
              <a:t>XX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XX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3D77698B-AF67-751A-E4C6-A903F1132D6D}"/>
              </a:ext>
            </a:extLst>
          </p:cNvPr>
          <p:cNvSpPr txBox="1">
            <a:spLocks/>
          </p:cNvSpPr>
          <p:nvPr userDrawn="1"/>
        </p:nvSpPr>
        <p:spPr>
          <a:xfrm>
            <a:off x="609601" y="4749879"/>
            <a:ext cx="5257800" cy="313932"/>
          </a:xfrm>
          <a:prstGeom prst="rect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wrap="square" lIns="45720" tIns="45720" rIns="45720" bIns="45720" anchor="ctr" anchorCtr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1"/>
                </a:solidFill>
                <a:latin typeface="Gilroy"/>
              </a:rPr>
              <a:t>Title box shaded dark, full length, 0.05 border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1E491DF-89EE-076A-745C-102A0EEAD4A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58711775"/>
              </p:ext>
            </p:extLst>
          </p:nvPr>
        </p:nvGraphicFramePr>
        <p:xfrm>
          <a:off x="6324603" y="3804811"/>
          <a:ext cx="5257798" cy="914400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6430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47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8464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XX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464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XX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XX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64">
                <a:tc>
                  <a:txBody>
                    <a:bodyPr/>
                    <a:lstStyle/>
                    <a:p>
                      <a:endParaRPr lang="en-US" sz="1400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F2767DBD-7A4B-7D06-3393-5759734BF459}"/>
              </a:ext>
            </a:extLst>
          </p:cNvPr>
          <p:cNvGrpSpPr/>
          <p:nvPr userDrawn="1"/>
        </p:nvGrpSpPr>
        <p:grpSpPr>
          <a:xfrm>
            <a:off x="609600" y="3616774"/>
            <a:ext cx="5257800" cy="300604"/>
            <a:chOff x="609600" y="2645512"/>
            <a:chExt cx="5257800" cy="30060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EB258F4-0CB8-B401-8380-EBF2C18B4B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2" y="2946116"/>
              <a:ext cx="5257798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Content Placeholder 2">
              <a:extLst>
                <a:ext uri="{FF2B5EF4-FFF2-40B4-BE49-F238E27FC236}">
                  <a16:creationId xmlns:a16="http://schemas.microsoft.com/office/drawing/2014/main" id="{0A3BA472-5FE5-8FF1-C6C9-803F0A5DC60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9600" y="2645512"/>
              <a:ext cx="5257800" cy="276999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 algn="ctr">
                <a:spcAft>
                  <a:spcPts val="0"/>
                </a:spcAft>
              </a:pPr>
              <a:r>
                <a:rPr lang="en-US" sz="1800" b="0" i="0" dirty="0">
                  <a:solidFill>
                    <a:schemeClr val="tx2"/>
                  </a:solidFill>
                  <a:latin typeface="Gilroy" panose="00000500000000000000"/>
                </a:rPr>
                <a:t>Heading</a:t>
              </a:r>
            </a:p>
          </p:txBody>
        </p:sp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800EC1B-1654-902A-FAA5-CDCFD10D816B}"/>
              </a:ext>
            </a:extLst>
          </p:cNvPr>
          <p:cNvSpPr txBox="1">
            <a:spLocks/>
          </p:cNvSpPr>
          <p:nvPr userDrawn="1"/>
        </p:nvSpPr>
        <p:spPr>
          <a:xfrm>
            <a:off x="609601" y="2709789"/>
            <a:ext cx="5257800" cy="461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>
              <a:spcAft>
                <a:spcPts val="0"/>
              </a:spcAft>
            </a:pPr>
            <a:r>
              <a:rPr lang="en-US" sz="1600" b="1" dirty="0">
                <a:solidFill>
                  <a:schemeClr val="tx2"/>
                </a:solidFill>
                <a:latin typeface="+mn-lt"/>
              </a:rPr>
              <a:t>Chart Title (Year)</a:t>
            </a:r>
          </a:p>
          <a:p>
            <a:pPr indent="0">
              <a:spcAft>
                <a:spcPts val="0"/>
              </a:spcAft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Unit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951CD68-C67D-0405-38D1-A1395D9FB50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06650917"/>
              </p:ext>
            </p:extLst>
          </p:nvPr>
        </p:nvGraphicFramePr>
        <p:xfrm>
          <a:off x="6248401" y="2089552"/>
          <a:ext cx="5333999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5035">
                  <a:extLst>
                    <a:ext uri="{9D8B030D-6E8A-4147-A177-3AD203B41FA5}">
                      <a16:colId xmlns:a16="http://schemas.microsoft.com/office/drawing/2014/main" val="2858497576"/>
                    </a:ext>
                  </a:extLst>
                </a:gridCol>
                <a:gridCol w="827241">
                  <a:extLst>
                    <a:ext uri="{9D8B030D-6E8A-4147-A177-3AD203B41FA5}">
                      <a16:colId xmlns:a16="http://schemas.microsoft.com/office/drawing/2014/main" val="2327005093"/>
                    </a:ext>
                  </a:extLst>
                </a:gridCol>
                <a:gridCol w="827241">
                  <a:extLst>
                    <a:ext uri="{9D8B030D-6E8A-4147-A177-3AD203B41FA5}">
                      <a16:colId xmlns:a16="http://schemas.microsoft.com/office/drawing/2014/main" val="581737143"/>
                    </a:ext>
                  </a:extLst>
                </a:gridCol>
                <a:gridCol w="827241">
                  <a:extLst>
                    <a:ext uri="{9D8B030D-6E8A-4147-A177-3AD203B41FA5}">
                      <a16:colId xmlns:a16="http://schemas.microsoft.com/office/drawing/2014/main" val="4056311676"/>
                    </a:ext>
                  </a:extLst>
                </a:gridCol>
                <a:gridCol w="827241">
                  <a:extLst>
                    <a:ext uri="{9D8B030D-6E8A-4147-A177-3AD203B41FA5}">
                      <a16:colId xmlns:a16="http://schemas.microsoft.com/office/drawing/2014/main" val="3866449809"/>
                    </a:ext>
                  </a:extLst>
                </a:gridCol>
              </a:tblGrid>
              <a:tr h="181142">
                <a:tc rowSpan="2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0" i="0" kern="1200" baseline="0" dirty="0">
                          <a:solidFill>
                            <a:schemeClr val="bg1"/>
                          </a:solidFill>
                          <a:effectLst/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Sector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Lato Medium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0582758"/>
                  </a:ext>
                </a:extLst>
              </a:tr>
              <a:tr h="27171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kern="1200" baseline="0" dirty="0">
                          <a:solidFill>
                            <a:schemeClr val="bg1"/>
                          </a:solidFill>
                          <a:effectLst/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Logistics</a:t>
                      </a:r>
                      <a:endParaRPr lang="en-US" sz="1200" b="0" i="0" dirty="0">
                        <a:solidFill>
                          <a:schemeClr val="bg1"/>
                        </a:solidFill>
                        <a:latin typeface="Lato Medium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kern="1200" baseline="0" dirty="0">
                          <a:solidFill>
                            <a:schemeClr val="bg1"/>
                          </a:solidFill>
                          <a:effectLst/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Multi-Family </a:t>
                      </a:r>
                      <a:endParaRPr lang="en-US" sz="1200" b="0" i="0" dirty="0">
                        <a:solidFill>
                          <a:schemeClr val="bg1"/>
                        </a:solidFill>
                        <a:latin typeface="Lato Medium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kern="1200" baseline="0" dirty="0">
                          <a:solidFill>
                            <a:schemeClr val="bg1"/>
                          </a:solidFill>
                          <a:effectLst/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Office</a:t>
                      </a:r>
                      <a:endParaRPr lang="en-US" sz="1200" b="0" i="0" dirty="0">
                        <a:solidFill>
                          <a:schemeClr val="bg1"/>
                        </a:solidFill>
                        <a:latin typeface="Lato Medium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kern="1200" baseline="0" dirty="0">
                          <a:solidFill>
                            <a:schemeClr val="bg1"/>
                          </a:solidFill>
                          <a:effectLst/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Retail</a:t>
                      </a:r>
                      <a:endParaRPr lang="en-US" sz="1200" b="0" i="0" dirty="0">
                        <a:solidFill>
                          <a:schemeClr val="bg1"/>
                        </a:solidFill>
                        <a:latin typeface="Lato Medium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893638"/>
                  </a:ext>
                </a:extLst>
              </a:tr>
              <a:tr h="163028">
                <a:tc>
                  <a:txBody>
                    <a:bodyPr/>
                    <a:lstStyle/>
                    <a:p>
                      <a:r>
                        <a:rPr lang="en-US" sz="1200" kern="1200" baseline="0" dirty="0">
                          <a:solidFill>
                            <a:srgbClr val="33404F"/>
                          </a:solidFill>
                          <a:effectLst/>
                          <a:latin typeface="Lato Light" panose="020F0502020204030203" pitchFamily="34" charset="0"/>
                          <a:ea typeface="+mn-ea"/>
                          <a:cs typeface="+mn-cs"/>
                        </a:rPr>
                        <a:t>Size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33404F"/>
                          </a:solidFill>
                          <a:effectLst/>
                          <a:latin typeface="Lato Light" panose="020F0502020204030203" pitchFamily="34" charset="0"/>
                          <a:ea typeface="+mn-ea"/>
                          <a:cs typeface="+mn-cs"/>
                        </a:rPr>
                        <a:t>$1.8T 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C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33404F"/>
                          </a:solidFill>
                          <a:effectLst/>
                          <a:latin typeface="Lato Light" panose="020F0502020204030203" pitchFamily="34" charset="0"/>
                          <a:ea typeface="+mn-ea"/>
                          <a:cs typeface="+mn-cs"/>
                        </a:rPr>
                        <a:t>$3.5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33404F"/>
                          </a:solidFill>
                          <a:effectLst/>
                          <a:latin typeface="Lato Light" panose="020F0502020204030203" pitchFamily="34" charset="0"/>
                          <a:ea typeface="+mn-ea"/>
                          <a:cs typeface="+mn-cs"/>
                        </a:rPr>
                        <a:t>$2.6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33404F"/>
                          </a:solidFill>
                          <a:effectLst/>
                          <a:latin typeface="Lato Light" panose="020F0502020204030203" pitchFamily="34" charset="0"/>
                          <a:ea typeface="+mn-ea"/>
                          <a:cs typeface="+mn-cs"/>
                        </a:rPr>
                        <a:t>$2.4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9992758"/>
                  </a:ext>
                </a:extLst>
              </a:tr>
              <a:tr h="16302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C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5238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baseline="0" dirty="0">
                        <a:solidFill>
                          <a:srgbClr val="33404F"/>
                        </a:solidFill>
                        <a:effectLst/>
                        <a:latin typeface="Lato Light" panose="020F050202020403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C6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407996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706B93A-91B3-3F7B-EA0D-ACA630817A2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09247544"/>
              </p:ext>
            </p:extLst>
          </p:nvPr>
        </p:nvGraphicFramePr>
        <p:xfrm>
          <a:off x="6248401" y="802639"/>
          <a:ext cx="5333999" cy="973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4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77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089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roperty</a:t>
                      </a:r>
                    </a:p>
                  </a:txBody>
                  <a:tcPr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Market</a:t>
                      </a:r>
                    </a:p>
                  </a:txBody>
                  <a:tcPr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Rooms</a:t>
                      </a:r>
                    </a:p>
                  </a:txBody>
                  <a:tcPr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Lato Medium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XX</a:t>
                      </a:r>
                    </a:p>
                  </a:txBody>
                  <a:tcPr anchor="b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119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0" marT="0" marB="0"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6119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0" marT="0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0" marT="0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effectLst/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9144" marT="9144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5957158"/>
                  </a:ext>
                </a:extLst>
              </a:tr>
            </a:tbl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E2F50BF5-A8E0-14DC-292B-23F96BBDB7FB}"/>
              </a:ext>
            </a:extLst>
          </p:cNvPr>
          <p:cNvGrpSpPr/>
          <p:nvPr userDrawn="1"/>
        </p:nvGrpSpPr>
        <p:grpSpPr>
          <a:xfrm>
            <a:off x="609600" y="4128969"/>
            <a:ext cx="3291840" cy="304026"/>
            <a:chOff x="609600" y="3437702"/>
            <a:chExt cx="3291840" cy="304026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6BE6F53F-AC11-8286-C434-3D016DBB5E7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1" y="3741728"/>
              <a:ext cx="3291839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" name="Content Placeholder 2">
              <a:extLst>
                <a:ext uri="{FF2B5EF4-FFF2-40B4-BE49-F238E27FC236}">
                  <a16:creationId xmlns:a16="http://schemas.microsoft.com/office/drawing/2014/main" id="{732DE38C-0FCB-187B-6A5B-8A93CE7E43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9600" y="3437702"/>
              <a:ext cx="3291839" cy="276999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marR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Tx/>
                <a:buFontTx/>
                <a:buNone/>
                <a:tabLst/>
                <a:defRPr b="0" i="0" baseline="0">
                  <a:solidFill>
                    <a:schemeClr val="tx2"/>
                  </a:solidFill>
                  <a:latin typeface="Gilroy" panose="00000500000000000000"/>
                </a:defRPr>
              </a:lvl1pPr>
              <a:lvl2pPr marL="27432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>
                  <a:latin typeface="Georgia" pitchFamily="18" charset="0"/>
                </a:defRPr>
              </a:lvl2pPr>
              <a:lvl3pPr marL="54864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>
                  <a:latin typeface="Georgia" pitchFamily="18" charset="0"/>
                </a:defRPr>
              </a:lvl3pPr>
              <a:lvl4pPr marL="82296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>
                  <a:latin typeface="Georgia" pitchFamily="18" charset="0"/>
                </a:defRPr>
              </a:lvl4pPr>
              <a:lvl5pPr marL="109728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baseline="0">
                  <a:latin typeface="Georgia" pitchFamily="18" charset="0"/>
                </a:defRPr>
              </a:lvl5pPr>
              <a:lvl6pPr marL="274320" marR="0" indent="-274320" fontAlgn="auto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baseline="0">
                  <a:latin typeface="Georgia" pitchFamily="18" charset="0"/>
                </a:defRPr>
              </a:lvl6pPr>
              <a:lvl7pPr marL="54864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baseline="0">
                  <a:latin typeface="Georgia" pitchFamily="18" charset="0"/>
                </a:defRPr>
              </a:lvl7pPr>
              <a:lvl8pPr marL="82296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baseline="0">
                  <a:latin typeface="Georgia" pitchFamily="18" charset="0"/>
                </a:defRPr>
              </a:lvl8pPr>
              <a:lvl9pPr marL="0" indent="-274320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baseline="0">
                  <a:solidFill>
                    <a:schemeClr val="tx2"/>
                  </a:solidFill>
                  <a:latin typeface="Georgia" pitchFamily="18" charset="0"/>
                </a:defRPr>
              </a:lvl9pPr>
            </a:lstStyle>
            <a:p>
              <a:pPr lvl="0"/>
              <a:r>
                <a:rPr lang="en-US" dirty="0"/>
                <a:t>Heading</a:t>
              </a:r>
            </a:p>
          </p:txBody>
        </p:sp>
      </p:grp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C66E626F-788F-F6EE-ED26-36B546B1D32A}"/>
              </a:ext>
            </a:extLst>
          </p:cNvPr>
          <p:cNvSpPr txBox="1">
            <a:spLocks/>
          </p:cNvSpPr>
          <p:nvPr userDrawn="1"/>
        </p:nvSpPr>
        <p:spPr>
          <a:xfrm>
            <a:off x="609600" y="805719"/>
            <a:ext cx="5257800" cy="453970"/>
          </a:xfrm>
          <a:prstGeom prst="rect">
            <a:avLst/>
          </a:prstGeom>
          <a:ln w="9525">
            <a:noFill/>
          </a:ln>
        </p:spPr>
        <p:txBody>
          <a:bodyPr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/>
            <a:r>
              <a:rPr lang="en-US" sz="1600" dirty="0">
                <a:latin typeface="+mn-lt"/>
              </a:rPr>
              <a:t>Use for general text</a:t>
            </a:r>
          </a:p>
          <a:p>
            <a:pPr marL="457200" lvl="1" indent="-234950">
              <a:spcBef>
                <a:spcPts val="300"/>
              </a:spcBef>
            </a:pPr>
            <a:r>
              <a:rPr lang="en-US" sz="1400" dirty="0">
                <a:latin typeface="+mn-lt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62973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6E40EE2-C040-FB0C-CEA0-1A898B537741}"/>
              </a:ext>
            </a:extLst>
          </p:cNvPr>
          <p:cNvSpPr/>
          <p:nvPr userDrawn="1"/>
        </p:nvSpPr>
        <p:spPr>
          <a:xfrm>
            <a:off x="9573086" y="4897760"/>
            <a:ext cx="1658794" cy="592856"/>
          </a:xfrm>
          <a:prstGeom prst="rect">
            <a:avLst/>
          </a:prstGeom>
          <a:solidFill>
            <a:srgbClr val="EBE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F877B7-0231-3932-58EE-1E27058F167F}"/>
              </a:ext>
            </a:extLst>
          </p:cNvPr>
          <p:cNvSpPr/>
          <p:nvPr userDrawn="1"/>
        </p:nvSpPr>
        <p:spPr>
          <a:xfrm>
            <a:off x="9573086" y="1817340"/>
            <a:ext cx="1658794" cy="592856"/>
          </a:xfrm>
          <a:prstGeom prst="rect">
            <a:avLst/>
          </a:prstGeom>
          <a:solidFill>
            <a:srgbClr val="334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CFA0A8-0DB2-4CA6-DEB0-CA06DD233A12}"/>
              </a:ext>
            </a:extLst>
          </p:cNvPr>
          <p:cNvSpPr/>
          <p:nvPr userDrawn="1"/>
        </p:nvSpPr>
        <p:spPr>
          <a:xfrm>
            <a:off x="9573086" y="2587445"/>
            <a:ext cx="1658794" cy="592856"/>
          </a:xfrm>
          <a:prstGeom prst="rect">
            <a:avLst/>
          </a:prstGeom>
          <a:solidFill>
            <a:srgbClr val="5B66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D8FFC3-C886-7B7D-83E2-991C49AFAAC6}"/>
              </a:ext>
            </a:extLst>
          </p:cNvPr>
          <p:cNvSpPr/>
          <p:nvPr userDrawn="1"/>
        </p:nvSpPr>
        <p:spPr>
          <a:xfrm>
            <a:off x="9573086" y="3357550"/>
            <a:ext cx="1658794" cy="592856"/>
          </a:xfrm>
          <a:prstGeom prst="rect">
            <a:avLst/>
          </a:prstGeom>
          <a:solidFill>
            <a:srgbClr val="707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C82403-BD34-91E5-2DCB-B2ACF0764173}"/>
              </a:ext>
            </a:extLst>
          </p:cNvPr>
          <p:cNvSpPr/>
          <p:nvPr userDrawn="1"/>
        </p:nvSpPr>
        <p:spPr>
          <a:xfrm>
            <a:off x="9573086" y="4127655"/>
            <a:ext cx="1658794" cy="592856"/>
          </a:xfrm>
          <a:prstGeom prst="rect">
            <a:avLst/>
          </a:prstGeom>
          <a:solidFill>
            <a:srgbClr val="C2C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F2D7C9-37B8-67EC-B8B4-BFCCEF56509F}"/>
              </a:ext>
            </a:extLst>
          </p:cNvPr>
          <p:cNvSpPr txBox="1"/>
          <p:nvPr userDrawn="1"/>
        </p:nvSpPr>
        <p:spPr>
          <a:xfrm>
            <a:off x="658040" y="928191"/>
            <a:ext cx="2611294" cy="41081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800"/>
              </a:lnSpc>
              <a:spcBef>
                <a:spcPts val="1400"/>
              </a:spcBef>
            </a:pPr>
            <a:r>
              <a:rPr lang="en-US" sz="1800" b="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eparato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696F50-EEC4-5AF8-522D-77765908370D}"/>
              </a:ext>
            </a:extLst>
          </p:cNvPr>
          <p:cNvSpPr/>
          <p:nvPr userDrawn="1"/>
        </p:nvSpPr>
        <p:spPr>
          <a:xfrm>
            <a:off x="9573086" y="5667863"/>
            <a:ext cx="1658794" cy="592856"/>
          </a:xfrm>
          <a:prstGeom prst="rect">
            <a:avLst/>
          </a:prstGeom>
          <a:solidFill>
            <a:srgbClr val="FFAB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20F3573-6371-E8BB-4FB0-35C1AF17C98C}"/>
              </a:ext>
            </a:extLst>
          </p:cNvPr>
          <p:cNvGrpSpPr/>
          <p:nvPr userDrawn="1"/>
        </p:nvGrpSpPr>
        <p:grpSpPr>
          <a:xfrm>
            <a:off x="658040" y="1767332"/>
            <a:ext cx="3427798" cy="1207894"/>
            <a:chOff x="4819650" y="2479708"/>
            <a:chExt cx="3427798" cy="120789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1BBB8E4-4D4B-9CC7-5324-894B87393BCB}"/>
                </a:ext>
              </a:extLst>
            </p:cNvPr>
            <p:cNvCxnSpPr/>
            <p:nvPr userDrawn="1"/>
          </p:nvCxnSpPr>
          <p:spPr>
            <a:xfrm>
              <a:off x="5180156" y="2529716"/>
              <a:ext cx="3067292" cy="0"/>
            </a:xfrm>
            <a:prstGeom prst="line">
              <a:avLst/>
            </a:prstGeom>
            <a:ln w="19050">
              <a:solidFill>
                <a:srgbClr val="FFAB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6022CA1-F8E1-428D-1C50-7DBA35B78FB3}"/>
                </a:ext>
              </a:extLst>
            </p:cNvPr>
            <p:cNvCxnSpPr/>
            <p:nvPr userDrawn="1"/>
          </p:nvCxnSpPr>
          <p:spPr>
            <a:xfrm>
              <a:off x="5180156" y="3571438"/>
              <a:ext cx="3067292" cy="0"/>
            </a:xfrm>
            <a:prstGeom prst="line">
              <a:avLst/>
            </a:prstGeom>
            <a:ln w="19050">
              <a:solidFill>
                <a:srgbClr val="C2C6C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3C6BDAB-C466-D89B-9921-C03AC0684C87}"/>
                </a:ext>
              </a:extLst>
            </p:cNvPr>
            <p:cNvCxnSpPr/>
            <p:nvPr userDrawn="1"/>
          </p:nvCxnSpPr>
          <p:spPr>
            <a:xfrm>
              <a:off x="5180156" y="3050578"/>
              <a:ext cx="3067292" cy="0"/>
            </a:xfrm>
            <a:prstGeom prst="line">
              <a:avLst/>
            </a:prstGeom>
            <a:ln w="19050">
              <a:solidFill>
                <a:srgbClr val="7079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Line 3">
              <a:extLst>
                <a:ext uri="{FF2B5EF4-FFF2-40B4-BE49-F238E27FC236}">
                  <a16:creationId xmlns:a16="http://schemas.microsoft.com/office/drawing/2014/main" id="{1C67FBEE-E735-0A39-C878-327F73B082F5}"/>
                </a:ext>
              </a:extLst>
            </p:cNvPr>
            <p:cNvSpPr>
              <a:spLocks noChangeShapeType="1"/>
            </p:cNvSpPr>
            <p:nvPr userDrawn="1">
              <p:custDataLst>
                <p:tags r:id="rId5"/>
              </p:custDataLst>
            </p:nvPr>
          </p:nvSpPr>
          <p:spPr bwMode="auto">
            <a:xfrm>
              <a:off x="4819650" y="2479708"/>
              <a:ext cx="0" cy="120789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20" name="Pentagon 3">
            <a:extLst>
              <a:ext uri="{FF2B5EF4-FFF2-40B4-BE49-F238E27FC236}">
                <a16:creationId xmlns:a16="http://schemas.microsoft.com/office/drawing/2014/main" id="{12D77143-B4EB-1F4A-4BAD-B9E1E2D625C8}"/>
              </a:ext>
            </a:extLst>
          </p:cNvPr>
          <p:cNvSpPr/>
          <p:nvPr userDrawn="1"/>
        </p:nvSpPr>
        <p:spPr>
          <a:xfrm>
            <a:off x="578710" y="3692748"/>
            <a:ext cx="1921811" cy="514239"/>
          </a:xfrm>
          <a:prstGeom prst="homePlate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588" b="1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ext</a:t>
            </a:r>
          </a:p>
        </p:txBody>
      </p:sp>
      <p:sp>
        <p:nvSpPr>
          <p:cNvPr id="21" name="Line 3">
            <a:extLst>
              <a:ext uri="{FF2B5EF4-FFF2-40B4-BE49-F238E27FC236}">
                <a16:creationId xmlns:a16="http://schemas.microsoft.com/office/drawing/2014/main" id="{66DF1B5F-F8E1-0637-F6DD-96109E7D81F1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09600" y="13970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cxnSp>
        <p:nvCxnSpPr>
          <p:cNvPr id="22" name="Elbow Connector 36">
            <a:extLst>
              <a:ext uri="{FF2B5EF4-FFF2-40B4-BE49-F238E27FC236}">
                <a16:creationId xmlns:a16="http://schemas.microsoft.com/office/drawing/2014/main" id="{2BACA88B-4CD7-E183-E9C9-FE5AE460A422}"/>
              </a:ext>
            </a:extLst>
          </p:cNvPr>
          <p:cNvCxnSpPr>
            <a:stCxn id="31" idx="2"/>
            <a:endCxn id="25" idx="0"/>
          </p:cNvCxnSpPr>
          <p:nvPr userDrawn="1"/>
        </p:nvCxnSpPr>
        <p:spPr>
          <a:xfrm rot="16200000" flipH="1">
            <a:off x="4942362" y="4274770"/>
            <a:ext cx="414306" cy="2420818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37">
            <a:extLst>
              <a:ext uri="{FF2B5EF4-FFF2-40B4-BE49-F238E27FC236}">
                <a16:creationId xmlns:a16="http://schemas.microsoft.com/office/drawing/2014/main" id="{ADCBB90F-3824-69A0-4D14-1B822EFD6BAE}"/>
              </a:ext>
            </a:extLst>
          </p:cNvPr>
          <p:cNvCxnSpPr>
            <a:stCxn id="31" idx="2"/>
            <a:endCxn id="24" idx="0"/>
          </p:cNvCxnSpPr>
          <p:nvPr userDrawn="1"/>
        </p:nvCxnSpPr>
        <p:spPr>
          <a:xfrm rot="5400000">
            <a:off x="2521544" y="4274770"/>
            <a:ext cx="414306" cy="2420819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22C8E91C-E8F0-BA7C-DC22-9306BE50CE14}"/>
              </a:ext>
            </a:extLst>
          </p:cNvPr>
          <p:cNvSpPr txBox="1">
            <a:spLocks/>
          </p:cNvSpPr>
          <p:nvPr userDrawn="1"/>
        </p:nvSpPr>
        <p:spPr>
          <a:xfrm>
            <a:off x="661239" y="5692332"/>
            <a:ext cx="1714096" cy="544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5875">
            <a:noFill/>
          </a:ln>
        </p:spPr>
        <p:txBody>
          <a:bodyPr lIns="91440" tIns="91440" rIns="91440" bIns="9144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>
                <a:latin typeface="Gilroy"/>
              </a:rPr>
              <a:t>XX</a:t>
            </a:r>
            <a:endParaRPr lang="en-US" sz="1200" dirty="0">
              <a:latin typeface="Gilroy"/>
            </a:endParaRPr>
          </a:p>
        </p:txBody>
      </p:sp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id="{C4134287-F47E-94D8-8DEF-F1E055BF4782}"/>
              </a:ext>
            </a:extLst>
          </p:cNvPr>
          <p:cNvSpPr txBox="1">
            <a:spLocks/>
          </p:cNvSpPr>
          <p:nvPr userDrawn="1"/>
        </p:nvSpPr>
        <p:spPr>
          <a:xfrm>
            <a:off x="5502876" y="5692332"/>
            <a:ext cx="1714096" cy="544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5875">
            <a:noFill/>
          </a:ln>
        </p:spPr>
        <p:txBody>
          <a:bodyPr lIns="91440" tIns="91440" rIns="91440" bIns="9144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>
                <a:latin typeface="Gilroy"/>
              </a:rPr>
              <a:t>XX</a:t>
            </a:r>
            <a:endParaRPr lang="en-US" sz="1200" dirty="0">
              <a:latin typeface="Gilroy"/>
            </a:endParaRP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0FFE269D-CA7B-DB09-7F4A-22A612241EEF}"/>
              </a:ext>
            </a:extLst>
          </p:cNvPr>
          <p:cNvSpPr txBox="1">
            <a:spLocks/>
          </p:cNvSpPr>
          <p:nvPr userDrawn="1"/>
        </p:nvSpPr>
        <p:spPr>
          <a:xfrm>
            <a:off x="3082058" y="5692332"/>
            <a:ext cx="1714096" cy="544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5875">
            <a:noFill/>
          </a:ln>
        </p:spPr>
        <p:txBody>
          <a:bodyPr lIns="91440" tIns="91440" rIns="91440" bIns="9144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>
                <a:latin typeface="Gilroy"/>
              </a:rPr>
              <a:t>XX</a:t>
            </a:r>
            <a:endParaRPr lang="en-US" sz="1200" dirty="0">
              <a:latin typeface="Gilroy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20D5915-C29C-DD92-45A9-F4F4559E4B2C}"/>
              </a:ext>
            </a:extLst>
          </p:cNvPr>
          <p:cNvSpPr/>
          <p:nvPr userDrawn="1"/>
        </p:nvSpPr>
        <p:spPr>
          <a:xfrm>
            <a:off x="2969959" y="5584573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5FDACC5-9589-7F97-C584-730C299536F5}"/>
              </a:ext>
            </a:extLst>
          </p:cNvPr>
          <p:cNvSpPr/>
          <p:nvPr userDrawn="1"/>
        </p:nvSpPr>
        <p:spPr>
          <a:xfrm>
            <a:off x="5380956" y="5584573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40A36B4-B4A7-C0B2-CA34-48D364216AA7}"/>
              </a:ext>
            </a:extLst>
          </p:cNvPr>
          <p:cNvSpPr/>
          <p:nvPr userDrawn="1"/>
        </p:nvSpPr>
        <p:spPr>
          <a:xfrm>
            <a:off x="549140" y="5590690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96B55D9-CF1D-1132-F0A4-7257E8F9C443}"/>
              </a:ext>
            </a:extLst>
          </p:cNvPr>
          <p:cNvCxnSpPr>
            <a:stCxn id="31" idx="2"/>
            <a:endCxn id="26" idx="0"/>
          </p:cNvCxnSpPr>
          <p:nvPr userDrawn="1"/>
        </p:nvCxnSpPr>
        <p:spPr>
          <a:xfrm>
            <a:off x="3939106" y="5278026"/>
            <a:ext cx="0" cy="414306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10">
            <a:extLst>
              <a:ext uri="{FF2B5EF4-FFF2-40B4-BE49-F238E27FC236}">
                <a16:creationId xmlns:a16="http://schemas.microsoft.com/office/drawing/2014/main" id="{7A898DD7-178B-E6BB-035B-1D49B1F93E03}"/>
              </a:ext>
            </a:extLst>
          </p:cNvPr>
          <p:cNvSpPr txBox="1">
            <a:spLocks/>
          </p:cNvSpPr>
          <p:nvPr userDrawn="1"/>
        </p:nvSpPr>
        <p:spPr>
          <a:xfrm>
            <a:off x="3082058" y="4733410"/>
            <a:ext cx="1714096" cy="544616"/>
          </a:xfrm>
          <a:prstGeom prst="rect">
            <a:avLst/>
          </a:prstGeom>
          <a:solidFill>
            <a:schemeClr val="tx2"/>
          </a:solidFill>
          <a:ln w="15875">
            <a:noFill/>
          </a:ln>
        </p:spPr>
        <p:txBody>
          <a:bodyPr lIns="91440" tIns="91440" rIns="91440" bIns="9144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b="1" dirty="0">
                <a:solidFill>
                  <a:schemeClr val="bg1"/>
                </a:solidFill>
                <a:latin typeface="Gilroy"/>
              </a:rPr>
              <a:t>XX</a:t>
            </a:r>
            <a:endParaRPr lang="en-US" sz="1200" b="1" dirty="0">
              <a:solidFill>
                <a:schemeClr val="bg1"/>
              </a:solidFill>
              <a:latin typeface="Gilroy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73DC31F-74C3-95E0-1392-98D2287975C3}"/>
              </a:ext>
            </a:extLst>
          </p:cNvPr>
          <p:cNvSpPr/>
          <p:nvPr userDrawn="1"/>
        </p:nvSpPr>
        <p:spPr>
          <a:xfrm>
            <a:off x="7178270" y="2631903"/>
            <a:ext cx="1851425" cy="51423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6D66C8-9742-5AE2-E48F-6657549CFF09}"/>
              </a:ext>
            </a:extLst>
          </p:cNvPr>
          <p:cNvGrpSpPr/>
          <p:nvPr userDrawn="1"/>
        </p:nvGrpSpPr>
        <p:grpSpPr>
          <a:xfrm>
            <a:off x="7728810" y="5751625"/>
            <a:ext cx="1139628" cy="447379"/>
            <a:chOff x="7216972" y="3228255"/>
            <a:chExt cx="731400" cy="447379"/>
          </a:xfrm>
        </p:grpSpPr>
        <p:sp>
          <p:nvSpPr>
            <p:cNvPr id="35" name="Shape 1432">
              <a:extLst>
                <a:ext uri="{FF2B5EF4-FFF2-40B4-BE49-F238E27FC236}">
                  <a16:creationId xmlns:a16="http://schemas.microsoft.com/office/drawing/2014/main" id="{4CA86696-577C-6001-EE1F-A2A0D14440BE}"/>
                </a:ext>
              </a:extLst>
            </p:cNvPr>
            <p:cNvSpPr txBox="1"/>
            <p:nvPr/>
          </p:nvSpPr>
          <p:spPr>
            <a:xfrm>
              <a:off x="7216972" y="3228255"/>
              <a:ext cx="7314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r>
                <a:rPr lang="en-US" sz="1400" dirty="0">
                  <a:solidFill>
                    <a:srgbClr val="000000"/>
                  </a:solidFill>
                  <a:latin typeface="Gilroy"/>
                  <a:ea typeface="Arial"/>
                  <a:cs typeface="Arial"/>
                  <a:sym typeface="Arial"/>
                </a:rPr>
                <a:t>CAGR </a:t>
              </a:r>
              <a:br>
                <a:rPr lang="en-US" sz="1400" dirty="0">
                  <a:solidFill>
                    <a:srgbClr val="000000"/>
                  </a:solidFill>
                  <a:latin typeface="Gilroy"/>
                  <a:ea typeface="Arial"/>
                  <a:cs typeface="Arial"/>
                  <a:sym typeface="Arial"/>
                </a:rPr>
              </a:br>
              <a:r>
                <a:rPr lang="en-US" sz="1400" dirty="0">
                  <a:solidFill>
                    <a:srgbClr val="000000"/>
                  </a:solidFill>
                  <a:latin typeface="Gilroy"/>
                  <a:ea typeface="Arial"/>
                  <a:cs typeface="Arial"/>
                  <a:sym typeface="Arial"/>
                </a:rPr>
                <a:t>2023-2029F</a:t>
              </a:r>
              <a:endParaRPr lang="en-US" sz="1400" i="0" u="none" strike="noStrike" cap="none" dirty="0">
                <a:solidFill>
                  <a:srgbClr val="000000"/>
                </a:solidFill>
                <a:latin typeface="Gilroy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6" name="Shape 1433">
              <a:extLst>
                <a:ext uri="{FF2B5EF4-FFF2-40B4-BE49-F238E27FC236}">
                  <a16:creationId xmlns:a16="http://schemas.microsoft.com/office/drawing/2014/main" id="{87B15203-0266-4CE0-C784-C676A31FD919}"/>
                </a:ext>
              </a:extLst>
            </p:cNvPr>
            <p:cNvCxnSpPr/>
            <p:nvPr/>
          </p:nvCxnSpPr>
          <p:spPr>
            <a:xfrm>
              <a:off x="7216972" y="3675634"/>
              <a:ext cx="731400" cy="0"/>
            </a:xfrm>
            <a:prstGeom prst="straightConnector1">
              <a:avLst/>
            </a:pr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30031B33-4B93-D9E5-6845-726ED6D460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37150511"/>
              </p:ext>
            </p:extLst>
          </p:nvPr>
        </p:nvGraphicFramePr>
        <p:xfrm>
          <a:off x="7130941" y="3429000"/>
          <a:ext cx="1851425" cy="243840"/>
        </p:xfrm>
        <a:graphic>
          <a:graphicData uri="http://schemas.openxmlformats.org/drawingml/2006/table">
            <a:tbl>
              <a:tblPr firstRow="1" bandRow="1"/>
              <a:tblGrid>
                <a:gridCol w="1851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7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FF0000"/>
                          </a:solidFill>
                        </a:rPr>
                        <a:t>ILLUSTRATIVE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EDA136F4-2FAC-6531-4474-EA2FBB3A4E20}"/>
              </a:ext>
            </a:extLst>
          </p:cNvPr>
          <p:cNvGrpSpPr/>
          <p:nvPr userDrawn="1"/>
        </p:nvGrpSpPr>
        <p:grpSpPr>
          <a:xfrm>
            <a:off x="4819650" y="1725351"/>
            <a:ext cx="1969141" cy="1117915"/>
            <a:chOff x="7130941" y="3975981"/>
            <a:chExt cx="1969141" cy="1117915"/>
          </a:xfrm>
        </p:grpSpPr>
        <p:sp>
          <p:nvSpPr>
            <p:cNvPr id="39" name="Line Callout 2 60">
              <a:extLst>
                <a:ext uri="{FF2B5EF4-FFF2-40B4-BE49-F238E27FC236}">
                  <a16:creationId xmlns:a16="http://schemas.microsoft.com/office/drawing/2014/main" id="{D293968E-F313-DB40-8E7A-507B760FD312}"/>
                </a:ext>
              </a:extLst>
            </p:cNvPr>
            <p:cNvSpPr/>
            <p:nvPr/>
          </p:nvSpPr>
          <p:spPr>
            <a:xfrm>
              <a:off x="7130941" y="4254450"/>
              <a:ext cx="1969141" cy="839446"/>
            </a:xfrm>
            <a:prstGeom prst="borderCallout2">
              <a:avLst>
                <a:gd name="adj1" fmla="val 19658"/>
                <a:gd name="adj2" fmla="val -490"/>
                <a:gd name="adj3" fmla="val 19658"/>
                <a:gd name="adj4" fmla="val -10494"/>
                <a:gd name="adj5" fmla="val 92845"/>
                <a:gd name="adj6" fmla="val -26115"/>
              </a:avLst>
            </a:prstGeom>
            <a:solidFill>
              <a:schemeClr val="bg1">
                <a:lumMod val="95000"/>
              </a:schemeClr>
            </a:solidFill>
            <a:ln w="15875">
              <a:solidFill>
                <a:schemeClr val="tx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XX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F6B2983-1632-D1C9-4AAF-207510398973}"/>
                </a:ext>
              </a:extLst>
            </p:cNvPr>
            <p:cNvGrpSpPr/>
            <p:nvPr/>
          </p:nvGrpSpPr>
          <p:grpSpPr>
            <a:xfrm>
              <a:off x="7130941" y="3975981"/>
              <a:ext cx="1039018" cy="278469"/>
              <a:chOff x="1559807" y="2288067"/>
              <a:chExt cx="1039018" cy="278469"/>
            </a:xfrm>
            <a:solidFill>
              <a:schemeClr val="tx2"/>
            </a:solidFill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3E7CF09-0C18-DB42-A27B-DBDFB2B4FE35}"/>
                  </a:ext>
                </a:extLst>
              </p:cNvPr>
              <p:cNvSpPr/>
              <p:nvPr/>
            </p:nvSpPr>
            <p:spPr>
              <a:xfrm>
                <a:off x="1559809" y="2424296"/>
                <a:ext cx="1039016" cy="1422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" name="OTLSHAPE_T_2d967ba645a54295a3086a8e2442b8bd_Shape">
                <a:extLst>
                  <a:ext uri="{FF2B5EF4-FFF2-40B4-BE49-F238E27FC236}">
                    <a16:creationId xmlns:a16="http://schemas.microsoft.com/office/drawing/2014/main" id="{EEDA5D55-31EE-3B57-E46C-2CEED0A340F4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1559807" y="2288067"/>
                <a:ext cx="1039017" cy="278469"/>
              </a:xfrm>
              <a:prstGeom prst="round2DiagRect">
                <a:avLst>
                  <a:gd name="adj1" fmla="val 50000"/>
                  <a:gd name="adj2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53640926-AAD7-44D8-BBD7-CCE9431645EC}">
                  <a14:shadowObscured xmlns:a14="http://schemas.microsoft.com/office/drawing/2010/main" val="1"/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  <a:latin typeface="+mn-lt"/>
                  </a:rPr>
                  <a:t>XX</a:t>
                </a:r>
              </a:p>
            </p:txBody>
          </p:sp>
        </p:grpSp>
      </p:grpSp>
      <p:sp>
        <p:nvSpPr>
          <p:cNvPr id="43" name="Rounded Rectangular Callout 17">
            <a:extLst>
              <a:ext uri="{FF2B5EF4-FFF2-40B4-BE49-F238E27FC236}">
                <a16:creationId xmlns:a16="http://schemas.microsoft.com/office/drawing/2014/main" id="{6D005906-94B1-54B3-878A-8F2C2FCC987B}"/>
              </a:ext>
            </a:extLst>
          </p:cNvPr>
          <p:cNvSpPr/>
          <p:nvPr userDrawn="1"/>
        </p:nvSpPr>
        <p:spPr>
          <a:xfrm>
            <a:off x="4856201" y="3086270"/>
            <a:ext cx="1969140" cy="705726"/>
          </a:xfrm>
          <a:prstGeom prst="wedgeRoundRectCallout">
            <a:avLst>
              <a:gd name="adj1" fmla="val -41281"/>
              <a:gd name="adj2" fmla="val 93766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allout</a:t>
            </a:r>
          </a:p>
        </p:txBody>
      </p:sp>
      <p:sp>
        <p:nvSpPr>
          <p:cNvPr id="44" name="AutoShape 2">
            <a:extLst>
              <a:ext uri="{FF2B5EF4-FFF2-40B4-BE49-F238E27FC236}">
                <a16:creationId xmlns:a16="http://schemas.microsoft.com/office/drawing/2014/main" id="{E35E608E-46A0-036A-9221-344C9984525F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178269" y="3975981"/>
            <a:ext cx="1859847" cy="292846"/>
          </a:xfrm>
          <a:prstGeom prst="triangle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pic>
        <p:nvPicPr>
          <p:cNvPr id="45" name="Picture 4" descr="Image result for red arrow">
            <a:extLst>
              <a:ext uri="{FF2B5EF4-FFF2-40B4-BE49-F238E27FC236}">
                <a16:creationId xmlns:a16="http://schemas.microsoft.com/office/drawing/2014/main" id="{B80B4F38-13E7-0101-61BC-E3DB18D3A2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383" y="4406529"/>
            <a:ext cx="685800" cy="60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Image result for red arrow">
            <a:extLst>
              <a:ext uri="{FF2B5EF4-FFF2-40B4-BE49-F238E27FC236}">
                <a16:creationId xmlns:a16="http://schemas.microsoft.com/office/drawing/2014/main" id="{6F0980A3-B459-81FA-C033-19F03A2D5F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3588" y="5028093"/>
            <a:ext cx="1324850" cy="752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Chevron 7">
            <a:extLst>
              <a:ext uri="{FF2B5EF4-FFF2-40B4-BE49-F238E27FC236}">
                <a16:creationId xmlns:a16="http://schemas.microsoft.com/office/drawing/2014/main" id="{DF7606F5-3FBF-91C5-A700-05C399CEEDE3}"/>
              </a:ext>
            </a:extLst>
          </p:cNvPr>
          <p:cNvSpPr/>
          <p:nvPr userDrawn="1"/>
        </p:nvSpPr>
        <p:spPr>
          <a:xfrm>
            <a:off x="2388009" y="3692748"/>
            <a:ext cx="2150829" cy="514239"/>
          </a:xfrm>
          <a:prstGeom prst="chevron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588" b="1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ext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6DC5235-003D-F4D9-C2D3-04B79AE89AE5}"/>
              </a:ext>
            </a:extLst>
          </p:cNvPr>
          <p:cNvSpPr/>
          <p:nvPr userDrawn="1"/>
        </p:nvSpPr>
        <p:spPr>
          <a:xfrm>
            <a:off x="5958840" y="4410706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48868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5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657021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400" b="0" i="0" dirty="0">
                <a:solidFill>
                  <a:srgbClr val="595959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5" name="Line 3">
            <a:extLst>
              <a:ext uri="{FF2B5EF4-FFF2-40B4-BE49-F238E27FC236}">
                <a16:creationId xmlns:a16="http://schemas.microsoft.com/office/drawing/2014/main" id="{45F98009-BB93-2B07-B189-1C8E14E5E252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09601" y="3559336"/>
            <a:ext cx="10972800" cy="0"/>
          </a:xfrm>
          <a:prstGeom prst="line">
            <a:avLst/>
          </a:prstGeom>
          <a:noFill/>
          <a:ln w="9525">
            <a:solidFill>
              <a:schemeClr val="bg2">
                <a:lumMod val="50000"/>
              </a:scheme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  <a:latin typeface="Gilroy"/>
            </a:endParaRPr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FCF77774-079B-076B-668A-4FD751ABB899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609601" y="5099171"/>
            <a:ext cx="10972800" cy="0"/>
          </a:xfrm>
          <a:prstGeom prst="line">
            <a:avLst/>
          </a:prstGeom>
          <a:noFill/>
          <a:ln w="9525">
            <a:solidFill>
              <a:schemeClr val="bg2">
                <a:lumMod val="50000"/>
              </a:scheme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  <a:latin typeface="Gilroy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D93A1E-AE6E-ED6B-C6BF-8826C1508B03}"/>
              </a:ext>
            </a:extLst>
          </p:cNvPr>
          <p:cNvSpPr/>
          <p:nvPr userDrawn="1"/>
        </p:nvSpPr>
        <p:spPr>
          <a:xfrm>
            <a:off x="609601" y="2270677"/>
            <a:ext cx="1803397" cy="1037483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Gilroy"/>
              </a:rPr>
              <a:t>XX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E2A474-F307-ADE0-132A-6F7447C687E8}"/>
              </a:ext>
            </a:extLst>
          </p:cNvPr>
          <p:cNvSpPr/>
          <p:nvPr userDrawn="1"/>
        </p:nvSpPr>
        <p:spPr>
          <a:xfrm>
            <a:off x="609601" y="3810512"/>
            <a:ext cx="1803397" cy="1037483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Gilroy"/>
              </a:rPr>
              <a:t>X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3C2FE14-6181-6BD8-0356-A1A5B7700BFA}"/>
              </a:ext>
            </a:extLst>
          </p:cNvPr>
          <p:cNvSpPr/>
          <p:nvPr userDrawn="1"/>
        </p:nvSpPr>
        <p:spPr>
          <a:xfrm>
            <a:off x="609601" y="5350346"/>
            <a:ext cx="1803397" cy="1037483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Gilroy"/>
              </a:rPr>
              <a:t>XX</a:t>
            </a:r>
          </a:p>
        </p:txBody>
      </p:sp>
      <p:sp>
        <p:nvSpPr>
          <p:cNvPr id="13" name="Shape 1432">
            <a:extLst>
              <a:ext uri="{FF2B5EF4-FFF2-40B4-BE49-F238E27FC236}">
                <a16:creationId xmlns:a16="http://schemas.microsoft.com/office/drawing/2014/main" id="{D63F5785-B313-7555-AF02-C661E89E0350}"/>
              </a:ext>
            </a:extLst>
          </p:cNvPr>
          <p:cNvSpPr txBox="1"/>
          <p:nvPr userDrawn="1"/>
        </p:nvSpPr>
        <p:spPr>
          <a:xfrm>
            <a:off x="609600" y="1812610"/>
            <a:ext cx="1803399" cy="2462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US" sz="1600" b="1" dirty="0">
                <a:solidFill>
                  <a:srgbClr val="000000"/>
                </a:solidFill>
                <a:latin typeface="Gilroy"/>
                <a:ea typeface="Arial"/>
                <a:cs typeface="Arial"/>
                <a:sym typeface="Arial"/>
              </a:rPr>
              <a:t>XX</a:t>
            </a:r>
            <a:endParaRPr lang="en-US" sz="1600" b="1" i="0" u="none" strike="noStrike" cap="none" dirty="0">
              <a:solidFill>
                <a:srgbClr val="000000"/>
              </a:solidFill>
              <a:latin typeface="Gilroy"/>
              <a:ea typeface="Arial"/>
              <a:cs typeface="Arial"/>
              <a:sym typeface="Arial"/>
            </a:endParaRPr>
          </a:p>
        </p:txBody>
      </p:sp>
      <p:cxnSp>
        <p:nvCxnSpPr>
          <p:cNvPr id="14" name="Shape 1433">
            <a:extLst>
              <a:ext uri="{FF2B5EF4-FFF2-40B4-BE49-F238E27FC236}">
                <a16:creationId xmlns:a16="http://schemas.microsoft.com/office/drawing/2014/main" id="{F71489BD-6140-47A2-B837-5C013C54E92E}"/>
              </a:ext>
            </a:extLst>
          </p:cNvPr>
          <p:cNvCxnSpPr/>
          <p:nvPr userDrawn="1"/>
        </p:nvCxnSpPr>
        <p:spPr>
          <a:xfrm>
            <a:off x="609600" y="2075323"/>
            <a:ext cx="1803399" cy="0"/>
          </a:xfrm>
          <a:prstGeom prst="straightConnector1">
            <a:avLst/>
          </a:prstGeom>
          <a:noFill/>
          <a:ln w="1587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E90E5CB4-DA2E-D6AD-8CAA-78C5D0618B99}"/>
              </a:ext>
            </a:extLst>
          </p:cNvPr>
          <p:cNvSpPr txBox="1">
            <a:spLocks/>
          </p:cNvSpPr>
          <p:nvPr userDrawn="1"/>
        </p:nvSpPr>
        <p:spPr>
          <a:xfrm>
            <a:off x="2933701" y="2270677"/>
            <a:ext cx="4076700" cy="166199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j-lt"/>
              </a:defRPr>
            </a:lvl1pPr>
            <a:lvl2pPr marL="378000" lvl="1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200" b="0">
                <a:latin typeface="+mj-lt"/>
              </a:defRPr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179388" indent="-1793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0" dirty="0">
                <a:latin typeface="+mn-lt"/>
              </a:rPr>
              <a:t>XX</a:t>
            </a:r>
            <a:endParaRPr lang="en-US" sz="1200" dirty="0">
              <a:latin typeface="+mn-lt"/>
            </a:endParaRPr>
          </a:p>
        </p:txBody>
      </p:sp>
      <p:sp>
        <p:nvSpPr>
          <p:cNvPr id="16" name="Shape 1432">
            <a:extLst>
              <a:ext uri="{FF2B5EF4-FFF2-40B4-BE49-F238E27FC236}">
                <a16:creationId xmlns:a16="http://schemas.microsoft.com/office/drawing/2014/main" id="{16916FDE-6442-EE66-11A1-29543C69EAE9}"/>
              </a:ext>
            </a:extLst>
          </p:cNvPr>
          <p:cNvSpPr txBox="1"/>
          <p:nvPr userDrawn="1"/>
        </p:nvSpPr>
        <p:spPr>
          <a:xfrm>
            <a:off x="2933701" y="1812610"/>
            <a:ext cx="4076700" cy="2462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US" sz="1600" b="1" dirty="0">
                <a:solidFill>
                  <a:srgbClr val="000000"/>
                </a:solidFill>
                <a:latin typeface="Gilroy"/>
                <a:ea typeface="Arial"/>
                <a:cs typeface="Arial"/>
                <a:sym typeface="Arial"/>
              </a:rPr>
              <a:t>XX</a:t>
            </a:r>
            <a:endParaRPr lang="en-US" sz="1600" b="1" i="0" u="none" strike="noStrike" cap="none" dirty="0">
              <a:solidFill>
                <a:srgbClr val="000000"/>
              </a:solidFill>
              <a:latin typeface="Gilroy"/>
              <a:ea typeface="Arial"/>
              <a:cs typeface="Arial"/>
              <a:sym typeface="Arial"/>
            </a:endParaRPr>
          </a:p>
        </p:txBody>
      </p:sp>
      <p:cxnSp>
        <p:nvCxnSpPr>
          <p:cNvPr id="17" name="Shape 1433">
            <a:extLst>
              <a:ext uri="{FF2B5EF4-FFF2-40B4-BE49-F238E27FC236}">
                <a16:creationId xmlns:a16="http://schemas.microsoft.com/office/drawing/2014/main" id="{E5BD3E7C-5561-8E49-163C-30FABC95796D}"/>
              </a:ext>
            </a:extLst>
          </p:cNvPr>
          <p:cNvCxnSpPr/>
          <p:nvPr userDrawn="1"/>
        </p:nvCxnSpPr>
        <p:spPr>
          <a:xfrm>
            <a:off x="2933701" y="2075323"/>
            <a:ext cx="4076700" cy="0"/>
          </a:xfrm>
          <a:prstGeom prst="straightConnector1">
            <a:avLst/>
          </a:prstGeom>
          <a:noFill/>
          <a:ln w="1587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B3001627-DE56-46E4-6165-0B0BE4E615F1}"/>
              </a:ext>
            </a:extLst>
          </p:cNvPr>
          <p:cNvSpPr txBox="1">
            <a:spLocks/>
          </p:cNvSpPr>
          <p:nvPr userDrawn="1"/>
        </p:nvSpPr>
        <p:spPr>
          <a:xfrm>
            <a:off x="7505701" y="2270677"/>
            <a:ext cx="4076700" cy="166199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j-lt"/>
              </a:defRPr>
            </a:lvl1pPr>
            <a:lvl2pPr marL="378000" lvl="1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200" b="0">
                <a:latin typeface="+mj-lt"/>
              </a:defRPr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179388" indent="-1793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0" dirty="0">
                <a:latin typeface="+mn-lt"/>
              </a:rPr>
              <a:t>XX</a:t>
            </a:r>
            <a:endParaRPr lang="en-US" sz="1200" dirty="0"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859B12C-FC68-1563-B8F1-20F7E0496E35}"/>
              </a:ext>
            </a:extLst>
          </p:cNvPr>
          <p:cNvGrpSpPr/>
          <p:nvPr userDrawn="1"/>
        </p:nvGrpSpPr>
        <p:grpSpPr>
          <a:xfrm>
            <a:off x="7505701" y="1812610"/>
            <a:ext cx="4076700" cy="262713"/>
            <a:chOff x="7505701" y="1812610"/>
            <a:chExt cx="4076700" cy="262713"/>
          </a:xfrm>
        </p:grpSpPr>
        <p:sp>
          <p:nvSpPr>
            <p:cNvPr id="19" name="Shape 1432">
              <a:extLst>
                <a:ext uri="{FF2B5EF4-FFF2-40B4-BE49-F238E27FC236}">
                  <a16:creationId xmlns:a16="http://schemas.microsoft.com/office/drawing/2014/main" id="{D67B3608-9E30-9EAF-989E-4CE41B1D1F9A}"/>
                </a:ext>
              </a:extLst>
            </p:cNvPr>
            <p:cNvSpPr txBox="1"/>
            <p:nvPr userDrawn="1"/>
          </p:nvSpPr>
          <p:spPr>
            <a:xfrm>
              <a:off x="7505701" y="1812610"/>
              <a:ext cx="4076700" cy="24622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r>
                <a:rPr lang="en-US" sz="1600" b="1" dirty="0">
                  <a:solidFill>
                    <a:srgbClr val="000000"/>
                  </a:solidFill>
                  <a:latin typeface="Gilroy"/>
                  <a:ea typeface="Arial"/>
                  <a:cs typeface="Arial"/>
                  <a:sym typeface="Arial"/>
                </a:rPr>
                <a:t>XX</a:t>
              </a:r>
              <a:endParaRPr lang="en-US" sz="1600" b="1" i="0" u="none" strike="noStrike" cap="none" dirty="0">
                <a:solidFill>
                  <a:srgbClr val="000000"/>
                </a:solidFill>
                <a:latin typeface="Gilroy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0" name="Shape 1433">
              <a:extLst>
                <a:ext uri="{FF2B5EF4-FFF2-40B4-BE49-F238E27FC236}">
                  <a16:creationId xmlns:a16="http://schemas.microsoft.com/office/drawing/2014/main" id="{77AAAB43-D2FD-353C-E721-AC9D4497582C}"/>
                </a:ext>
              </a:extLst>
            </p:cNvPr>
            <p:cNvCxnSpPr/>
            <p:nvPr userDrawn="1"/>
          </p:nvCxnSpPr>
          <p:spPr>
            <a:xfrm>
              <a:off x="7505701" y="2075323"/>
              <a:ext cx="4076700" cy="0"/>
            </a:xfrm>
            <a:prstGeom prst="straightConnector1">
              <a:avLst/>
            </a:pr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CC69C35A-BEB8-6DA5-2E76-4CCD40A79A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1" y="1227660"/>
            <a:ext cx="10972799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2400" b="0" dirty="0">
                <a:solidFill>
                  <a:schemeClr val="accent2">
                    <a:lumMod val="75000"/>
                  </a:schemeClr>
                </a:solidFill>
                <a:latin typeface="Gilroy" panose="00000500000000000000" pitchFamily="50" charset="0"/>
              </a:defRPr>
            </a:lvl1pPr>
          </a:lstStyle>
          <a:p>
            <a:pPr marL="0"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3741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657021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400" b="0" i="0" dirty="0">
                <a:solidFill>
                  <a:srgbClr val="595959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5" name="AutoShape 6">
            <a:extLst>
              <a:ext uri="{FF2B5EF4-FFF2-40B4-BE49-F238E27FC236}">
                <a16:creationId xmlns:a16="http://schemas.microsoft.com/office/drawing/2014/main" id="{AD152D3F-5331-9FC5-AE04-616DE0260AC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609598" y="1754968"/>
            <a:ext cx="2226624" cy="1092622"/>
          </a:xfrm>
          <a:prstGeom prst="homePlate">
            <a:avLst>
              <a:gd name="adj" fmla="val 18523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600" b="0" dirty="0">
                <a:solidFill>
                  <a:srgbClr val="FFFFFF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XX</a:t>
            </a:r>
          </a:p>
        </p:txBody>
      </p:sp>
      <p:sp>
        <p:nvSpPr>
          <p:cNvPr id="9" name="AutoShape 13">
            <a:extLst>
              <a:ext uri="{FF2B5EF4-FFF2-40B4-BE49-F238E27FC236}">
                <a16:creationId xmlns:a16="http://schemas.microsoft.com/office/drawing/2014/main" id="{451DB44C-E202-7FD6-CC94-AA0CA751588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609598" y="3264777"/>
            <a:ext cx="2226624" cy="1092621"/>
          </a:xfrm>
          <a:prstGeom prst="homePlate">
            <a:avLst>
              <a:gd name="adj" fmla="val 18523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600" b="0" dirty="0">
                <a:solidFill>
                  <a:srgbClr val="FFFFFF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XX</a:t>
            </a:r>
          </a:p>
        </p:txBody>
      </p:sp>
      <p:sp>
        <p:nvSpPr>
          <p:cNvPr id="10" name="AutoShape 15">
            <a:extLst>
              <a:ext uri="{FF2B5EF4-FFF2-40B4-BE49-F238E27FC236}">
                <a16:creationId xmlns:a16="http://schemas.microsoft.com/office/drawing/2014/main" id="{042A69DA-CBE4-2DE3-3CF0-3471C6B26D3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609598" y="4774584"/>
            <a:ext cx="2226624" cy="1092622"/>
          </a:xfrm>
          <a:prstGeom prst="homePlate">
            <a:avLst>
              <a:gd name="adj" fmla="val 18523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600" b="0" dirty="0">
                <a:solidFill>
                  <a:srgbClr val="FFFFFF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XX</a:t>
            </a:r>
          </a:p>
        </p:txBody>
      </p:sp>
      <p:sp>
        <p:nvSpPr>
          <p:cNvPr id="11" name="AutoShape 19">
            <a:extLst>
              <a:ext uri="{FF2B5EF4-FFF2-40B4-BE49-F238E27FC236}">
                <a16:creationId xmlns:a16="http://schemas.microsoft.com/office/drawing/2014/main" id="{AB9BFEFE-BFA5-D677-033C-21AF47FD93BA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4577890" y="3738790"/>
            <a:ext cx="3686673" cy="30921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6888C0DD-EBA8-8CAA-616D-CE735E1E6132}"/>
              </a:ext>
            </a:extLst>
          </p:cNvPr>
          <p:cNvSpPr txBox="1">
            <a:spLocks/>
          </p:cNvSpPr>
          <p:nvPr userDrawn="1"/>
        </p:nvSpPr>
        <p:spPr>
          <a:xfrm>
            <a:off x="6776874" y="1730810"/>
            <a:ext cx="4805528" cy="313932"/>
          </a:xfrm>
          <a:prstGeom prst="rect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wrap="square" lIns="45720" tIns="45720" rIns="45720" bIns="45720" anchor="ctr" anchorCtr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XX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FD17570F-69EE-412B-DFC2-CABD8C1A3639}"/>
              </a:ext>
            </a:extLst>
          </p:cNvPr>
          <p:cNvSpPr txBox="1">
            <a:spLocks/>
          </p:cNvSpPr>
          <p:nvPr userDrawn="1"/>
        </p:nvSpPr>
        <p:spPr>
          <a:xfrm>
            <a:off x="6776874" y="2048126"/>
            <a:ext cx="4805528" cy="1446630"/>
          </a:xfrm>
          <a:prstGeom prst="rect">
            <a:avLst/>
          </a:prstGeom>
          <a:ln w="15875"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j-lt"/>
              </a:defRPr>
            </a:lvl1pPr>
            <a:lvl2pPr marL="378000" lvl="1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200" b="0">
                <a:latin typeface="+mj-lt"/>
              </a:defRPr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179388" indent="-179388">
              <a:buFont typeface="Arial" panose="020B0604020202020204" pitchFamily="34" charset="0"/>
              <a:buChar char="•"/>
            </a:pPr>
            <a:r>
              <a:rPr lang="en-US" b="0" dirty="0"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XX</a:t>
            </a:r>
          </a:p>
          <a:p>
            <a:pPr lvl="1"/>
            <a:r>
              <a:rPr lang="en-US" dirty="0"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XX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4690F6C6-735C-FE6D-3A1B-2C6BB343D577}"/>
              </a:ext>
            </a:extLst>
          </p:cNvPr>
          <p:cNvSpPr txBox="1">
            <a:spLocks/>
          </p:cNvSpPr>
          <p:nvPr userDrawn="1"/>
        </p:nvSpPr>
        <p:spPr>
          <a:xfrm>
            <a:off x="6776874" y="4083325"/>
            <a:ext cx="4805528" cy="313932"/>
          </a:xfrm>
          <a:prstGeom prst="rect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wrap="square" lIns="45720" tIns="45720" rIns="45720" bIns="45720" anchor="ctr" anchorCtr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XX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32A02066-D67F-52E6-DB09-636A574BCEA1}"/>
              </a:ext>
            </a:extLst>
          </p:cNvPr>
          <p:cNvSpPr txBox="1">
            <a:spLocks/>
          </p:cNvSpPr>
          <p:nvPr userDrawn="1"/>
        </p:nvSpPr>
        <p:spPr>
          <a:xfrm>
            <a:off x="6776874" y="4400641"/>
            <a:ext cx="4805528" cy="1446630"/>
          </a:xfrm>
          <a:prstGeom prst="rect">
            <a:avLst/>
          </a:prstGeom>
          <a:ln w="15875"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j-lt"/>
              </a:defRPr>
            </a:lvl1pPr>
            <a:lvl2pPr marL="378000" lvl="1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200" b="0">
                <a:latin typeface="+mj-lt"/>
              </a:defRPr>
            </a:lvl2pPr>
            <a:lvl3pPr marL="55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3pPr>
            <a:lvl4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/>
            </a:lvl4pPr>
            <a:lvl5pPr marL="738000" indent="-17938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179388" indent="-179388">
              <a:buFont typeface="Arial" panose="020B0604020202020204" pitchFamily="34" charset="0"/>
              <a:buChar char="•"/>
            </a:pPr>
            <a:r>
              <a:rPr lang="en-US" b="0" dirty="0"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XX</a:t>
            </a:r>
          </a:p>
          <a:p>
            <a:pPr lvl="1"/>
            <a:r>
              <a:rPr lang="en-US" dirty="0"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XX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525A548C-D086-9146-DB96-9EA4CF14BC8A}"/>
              </a:ext>
            </a:extLst>
          </p:cNvPr>
          <p:cNvSpPr txBox="1">
            <a:spLocks/>
          </p:cNvSpPr>
          <p:nvPr userDrawn="1"/>
        </p:nvSpPr>
        <p:spPr>
          <a:xfrm>
            <a:off x="3037264" y="1810788"/>
            <a:ext cx="3028315" cy="398571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+mn-lt"/>
              </a:rPr>
              <a:t>Use for general text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latin typeface="+mn-lt"/>
              </a:rPr>
              <a:t>XX 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C071559D-A3DE-B4C5-BE63-3B6D39272013}"/>
              </a:ext>
            </a:extLst>
          </p:cNvPr>
          <p:cNvSpPr txBox="1">
            <a:spLocks/>
          </p:cNvSpPr>
          <p:nvPr userDrawn="1"/>
        </p:nvSpPr>
        <p:spPr>
          <a:xfrm>
            <a:off x="3037264" y="3264777"/>
            <a:ext cx="3028315" cy="398571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+mn-lt"/>
              </a:rPr>
              <a:t>Use for general text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latin typeface="+mn-lt"/>
              </a:rPr>
              <a:t>XX 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160D6213-D74B-7421-1749-CCE8F3A58E15}"/>
              </a:ext>
            </a:extLst>
          </p:cNvPr>
          <p:cNvSpPr txBox="1">
            <a:spLocks/>
          </p:cNvSpPr>
          <p:nvPr userDrawn="1"/>
        </p:nvSpPr>
        <p:spPr>
          <a:xfrm>
            <a:off x="3037264" y="4774584"/>
            <a:ext cx="3028315" cy="398571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+mn-lt"/>
              </a:rPr>
              <a:t>Use for general text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latin typeface="+mn-lt"/>
              </a:rPr>
              <a:t>XX </a:t>
            </a:r>
          </a:p>
        </p:txBody>
      </p:sp>
    </p:spTree>
    <p:extLst>
      <p:ext uri="{BB962C8B-B14F-4D97-AF65-F5344CB8AC3E}">
        <p14:creationId xmlns:p14="http://schemas.microsoft.com/office/powerpoint/2010/main" val="906715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D1E80-D66D-40B6-BAEE-26FC64CA4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4D1E80-D66D-40B6-BAEE-26FC64CA4F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C753DD-64B8-4E21-A402-C1330C7B24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ctr"/>
          <a:lstStyle>
            <a:lvl1pPr>
              <a:defRPr lang="en-US" smtClean="0"/>
            </a:lvl1pPr>
          </a:lstStyle>
          <a:p>
            <a:pPr algn="ctr"/>
            <a:fld id="{19B51A1E-902D-48AF-9020-955120F399B6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8ACD5EE3-ACCB-D8AF-31BF-8AFF13E239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657021"/>
            <a:ext cx="10966450" cy="548640"/>
          </a:xfrm>
          <a:prstGeom prst="rect">
            <a:avLst/>
          </a:prstGeom>
          <a:noFill/>
        </p:spPr>
        <p:txBody>
          <a:bodyPr vert="horz" lIns="0" tIns="0" rIns="0" bIns="45720" rtlCol="0" anchor="t">
            <a:noAutofit/>
          </a:bodyPr>
          <a:lstStyle>
            <a:lvl1pPr marL="0" indent="0">
              <a:buNone/>
              <a:defRPr lang="en-US" sz="2400" b="0" i="0" dirty="0">
                <a:solidFill>
                  <a:srgbClr val="595959"/>
                </a:solidFill>
                <a:latin typeface="Gilroy"/>
              </a:defRPr>
            </a:lvl1pPr>
          </a:lstStyle>
          <a:p>
            <a:pPr marL="266700" lvl="0" indent="-26670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33CAE6-A2BB-9432-EABD-168DC22909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9265" y="189129"/>
            <a:ext cx="304824" cy="304800"/>
          </a:xfrm>
          <a:prstGeom prst="rect">
            <a:avLst/>
          </a:prstGeom>
        </p:spPr>
      </p:pic>
      <p:sp>
        <p:nvSpPr>
          <p:cNvPr id="2" name="AutoShape 19">
            <a:extLst>
              <a:ext uri="{FF2B5EF4-FFF2-40B4-BE49-F238E27FC236}">
                <a16:creationId xmlns:a16="http://schemas.microsoft.com/office/drawing/2014/main" id="{E497FFA8-0124-E16E-503F-CA6787415595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3580432" y="3856269"/>
            <a:ext cx="2550116" cy="30921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C536DAF-95E6-2056-D3C2-005ED9AE65F9}"/>
              </a:ext>
            </a:extLst>
          </p:cNvPr>
          <p:cNvGrpSpPr/>
          <p:nvPr userDrawn="1"/>
        </p:nvGrpSpPr>
        <p:grpSpPr>
          <a:xfrm>
            <a:off x="609601" y="1501254"/>
            <a:ext cx="3829049" cy="334804"/>
            <a:chOff x="609600" y="1250218"/>
            <a:chExt cx="5257800" cy="33480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A5364D8-2A74-0F46-1890-DE9938B48B5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2" y="1585022"/>
              <a:ext cx="5257798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1" name="Content Placeholder 2">
              <a:extLst>
                <a:ext uri="{FF2B5EF4-FFF2-40B4-BE49-F238E27FC236}">
                  <a16:creationId xmlns:a16="http://schemas.microsoft.com/office/drawing/2014/main" id="{AFA57D39-FE73-EF17-2C54-F9E51CEACE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9600" y="1250218"/>
              <a:ext cx="5257797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 algn="ctr">
                <a:spcAft>
                  <a:spcPts val="0"/>
                </a:spcAft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Context</a:t>
              </a:r>
              <a:endParaRPr lang="en-US" i="0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9857D94-0E78-9F93-BC39-7EBE81429B52}"/>
              </a:ext>
            </a:extLst>
          </p:cNvPr>
          <p:cNvGrpSpPr/>
          <p:nvPr userDrawn="1"/>
        </p:nvGrpSpPr>
        <p:grpSpPr>
          <a:xfrm>
            <a:off x="5410200" y="1501254"/>
            <a:ext cx="5677911" cy="334804"/>
            <a:chOff x="609600" y="1250218"/>
            <a:chExt cx="5257800" cy="33480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65A1BF4-6433-A647-D36B-7F7268B36A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2" y="1585022"/>
              <a:ext cx="5257798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5FB1A0EE-1662-DA37-63C1-1BB60AB077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09600" y="1250218"/>
              <a:ext cx="525779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 algn="ctr">
                <a:spcAft>
                  <a:spcPts val="0"/>
                </a:spcAft>
              </a:pPr>
              <a:r>
                <a:rPr lang="en-US" dirty="0">
                  <a:solidFill>
                    <a:schemeClr val="tx2"/>
                  </a:solidFill>
                  <a:latin typeface="+mn-lt"/>
                </a:rPr>
                <a:t>Acquisitions IM Scope</a:t>
              </a:r>
              <a:endParaRPr lang="en-US" i="0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D3895F-EED3-6D83-FA6A-1815CABD8380}"/>
              </a:ext>
            </a:extLst>
          </p:cNvPr>
          <p:cNvGrpSpPr/>
          <p:nvPr userDrawn="1"/>
        </p:nvGrpSpPr>
        <p:grpSpPr>
          <a:xfrm>
            <a:off x="11070386" y="2083377"/>
            <a:ext cx="1024023" cy="2422420"/>
            <a:chOff x="10922670" y="2083377"/>
            <a:chExt cx="1024023" cy="2422420"/>
          </a:xfrm>
        </p:grpSpPr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53E98832-D8B6-FC7A-D5F1-A0FE75392DA0}"/>
                </a:ext>
              </a:extLst>
            </p:cNvPr>
            <p:cNvSpPr/>
            <p:nvPr/>
          </p:nvSpPr>
          <p:spPr>
            <a:xfrm rot="10800000">
              <a:off x="10922670" y="2083377"/>
              <a:ext cx="309210" cy="2422420"/>
            </a:xfrm>
            <a:prstGeom prst="leftBrace">
              <a:avLst>
                <a:gd name="adj1" fmla="val 20527"/>
                <a:gd name="adj2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03E74790-99AE-8AC0-3F48-0520EDD41916}"/>
                </a:ext>
              </a:extLst>
            </p:cNvPr>
            <p:cNvSpPr/>
            <p:nvPr/>
          </p:nvSpPr>
          <p:spPr>
            <a:xfrm>
              <a:off x="11231880" y="3079125"/>
              <a:ext cx="714813" cy="40862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tIns="0" rIns="45720" bIns="0" rtlCol="0" anchor="ctr">
              <a:spAutoFit/>
            </a:bodyPr>
            <a:lstStyle/>
            <a:p>
              <a:pPr algn="ctr"/>
              <a:r>
                <a:rPr lang="en-US" sz="1200" i="1" dirty="0">
                  <a:solidFill>
                    <a:schemeClr val="tx2"/>
                  </a:solidFill>
                  <a:latin typeface="Gilroy"/>
                  <a:ea typeface="Lato Light" panose="020F0502020204030203" pitchFamily="34" charset="0"/>
                  <a:cs typeface="Lato Light" panose="020F0502020204030203" pitchFamily="34" charset="0"/>
                </a:rPr>
                <a:t>Previous </a:t>
              </a:r>
              <a:br>
                <a:rPr lang="en-US" sz="1200" i="1" dirty="0">
                  <a:solidFill>
                    <a:schemeClr val="tx2"/>
                  </a:solidFill>
                  <a:latin typeface="Gilroy"/>
                  <a:ea typeface="Lato Light" panose="020F0502020204030203" pitchFamily="34" charset="0"/>
                  <a:cs typeface="Lato Light" panose="020F0502020204030203" pitchFamily="34" charset="0"/>
                </a:rPr>
              </a:br>
              <a:r>
                <a:rPr lang="en-US" sz="1200" i="1" dirty="0">
                  <a:solidFill>
                    <a:schemeClr val="tx2"/>
                  </a:solidFill>
                  <a:latin typeface="Gilroy"/>
                  <a:ea typeface="Lato Light" panose="020F0502020204030203" pitchFamily="34" charset="0"/>
                  <a:cs typeface="Lato Light" panose="020F0502020204030203" pitchFamily="34" charset="0"/>
                </a:rPr>
                <a:t>IMs</a:t>
              </a:r>
            </a:p>
          </p:txBody>
        </p:sp>
      </p:grp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A0EBB3E0-108F-E4A9-E366-A5D2DD32DD9D}"/>
              </a:ext>
            </a:extLst>
          </p:cNvPr>
          <p:cNvSpPr txBox="1">
            <a:spLocks/>
          </p:cNvSpPr>
          <p:nvPr userDrawn="1"/>
        </p:nvSpPr>
        <p:spPr>
          <a:xfrm>
            <a:off x="7187260" y="5832117"/>
            <a:ext cx="3326106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>
              <a:spcAft>
                <a:spcPts val="0"/>
              </a:spcAft>
            </a:pPr>
            <a:r>
              <a:rPr lang="en-US" sz="1800" i="1" dirty="0">
                <a:solidFill>
                  <a:srgbClr val="C00000"/>
                </a:solidFill>
                <a:latin typeface="+mn-lt"/>
              </a:rPr>
              <a:t>Focus of Today’s Present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739DB4B-4F6B-7C2E-E226-A60C69E9F485}"/>
              </a:ext>
            </a:extLst>
          </p:cNvPr>
          <p:cNvSpPr/>
          <p:nvPr userDrawn="1"/>
        </p:nvSpPr>
        <p:spPr>
          <a:xfrm>
            <a:off x="5410199" y="4695965"/>
            <a:ext cx="5821681" cy="149998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9DF22B9A-D999-3A36-60A9-F0A04C99CBDF}"/>
              </a:ext>
            </a:extLst>
          </p:cNvPr>
          <p:cNvSpPr txBox="1">
            <a:spLocks/>
          </p:cNvSpPr>
          <p:nvPr userDrawn="1"/>
        </p:nvSpPr>
        <p:spPr>
          <a:xfrm>
            <a:off x="609602" y="2048927"/>
            <a:ext cx="3836038" cy="3717709"/>
          </a:xfrm>
          <a:prstGeom prst="rect">
            <a:avLst/>
          </a:prstGeom>
          <a:ln w="15875">
            <a:noFill/>
          </a:ln>
        </p:spPr>
        <p:txBody>
          <a:bodyPr lIns="0" tIns="0" rIns="0" bIns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/>
            <a:r>
              <a:rPr lang="en-US" dirty="0" err="1">
                <a:latin typeface="+mn-lt"/>
              </a:rPr>
              <a:t>Faropoint</a:t>
            </a:r>
            <a:r>
              <a:rPr lang="en-US" dirty="0">
                <a:latin typeface="+mn-lt"/>
              </a:rPr>
              <a:t> captures a large volume of proprietary data from its pipeline of new deals and closed transactions</a:t>
            </a:r>
          </a:p>
          <a:p>
            <a:pPr marL="461963" lvl="1" indent="-227013">
              <a:spcBef>
                <a:spcPts val="300"/>
              </a:spcBef>
            </a:pPr>
            <a:r>
              <a:rPr lang="en-US" sz="1400" dirty="0"/>
              <a:t>Deals Created (2022): 1,148</a:t>
            </a:r>
          </a:p>
          <a:p>
            <a:pPr marL="461963" lvl="1" indent="-227013">
              <a:spcBef>
                <a:spcPts val="300"/>
              </a:spcBef>
            </a:pPr>
            <a:r>
              <a:rPr lang="en-US" sz="1400" dirty="0"/>
              <a:t>Offers Submitted (2022): 377</a:t>
            </a:r>
          </a:p>
          <a:p>
            <a:pPr marL="227013" indent="-227013"/>
            <a:r>
              <a:rPr lang="en-US" dirty="0"/>
              <a:t>Insights from acquisitions data </a:t>
            </a:r>
            <a:r>
              <a:rPr lang="en-US" dirty="0">
                <a:latin typeface="+mn-lt"/>
              </a:rPr>
              <a:t>enable a competitive advantage</a:t>
            </a:r>
          </a:p>
          <a:p>
            <a:pPr marL="461963" lvl="1" indent="-227013">
              <a:spcBef>
                <a:spcPts val="300"/>
              </a:spcBef>
            </a:pPr>
            <a:r>
              <a:rPr lang="en-US" sz="1400" dirty="0"/>
              <a:t>[XX]</a:t>
            </a:r>
          </a:p>
          <a:p>
            <a:pPr marL="227013" indent="-227013"/>
            <a:r>
              <a:rPr lang="en-US" dirty="0"/>
              <a:t>Acquisitions IM leverages this data to provide </a:t>
            </a:r>
            <a:r>
              <a:rPr lang="en-US" dirty="0">
                <a:latin typeface="+mn-lt"/>
              </a:rPr>
              <a:t>a pulse on market trends and steer acquisitions direction</a:t>
            </a:r>
          </a:p>
          <a:p>
            <a:pPr marL="227013" indent="-227013"/>
            <a:r>
              <a:rPr lang="en-US" dirty="0">
                <a:latin typeface="+mn-lt"/>
              </a:rPr>
              <a:t>Future state goal is to provide team instant access to data analytics via a business intelligence platform</a:t>
            </a:r>
          </a:p>
        </p:txBody>
      </p:sp>
      <p:sp>
        <p:nvSpPr>
          <p:cNvPr id="31" name="AutoShape 6">
            <a:extLst>
              <a:ext uri="{FF2B5EF4-FFF2-40B4-BE49-F238E27FC236}">
                <a16:creationId xmlns:a16="http://schemas.microsoft.com/office/drawing/2014/main" id="{3B91B619-37CF-C4BC-5D60-2CAA1B24717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00969" y="2288712"/>
            <a:ext cx="1433647" cy="924381"/>
          </a:xfrm>
          <a:prstGeom prst="homePlate">
            <a:avLst>
              <a:gd name="adj" fmla="val 18523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ortfolio </a:t>
            </a:r>
            <a:b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omposition</a:t>
            </a:r>
            <a:endParaRPr lang="en-US" sz="1200" b="0" dirty="0">
              <a:solidFill>
                <a:schemeClr val="bg1"/>
              </a:solidFill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11C7025C-844A-7AFA-37E3-2CB425DAB26F}"/>
              </a:ext>
            </a:extLst>
          </p:cNvPr>
          <p:cNvSpPr txBox="1">
            <a:spLocks/>
          </p:cNvSpPr>
          <p:nvPr userDrawn="1"/>
        </p:nvSpPr>
        <p:spPr>
          <a:xfrm>
            <a:off x="7989945" y="2288713"/>
            <a:ext cx="2959325" cy="703269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latin typeface="+mn-lt"/>
              </a:rPr>
              <a:t>Current and target portfolio composition by </a:t>
            </a:r>
            <a:r>
              <a:rPr lang="en-US" sz="1200" dirty="0"/>
              <a:t>market segment, quality (ranking), and lease strateg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/>
              <a:t>Risk-adjusted returns</a:t>
            </a:r>
          </a:p>
        </p:txBody>
      </p:sp>
      <p:sp>
        <p:nvSpPr>
          <p:cNvPr id="34" name="AutoShape 15">
            <a:extLst>
              <a:ext uri="{FF2B5EF4-FFF2-40B4-BE49-F238E27FC236}">
                <a16:creationId xmlns:a16="http://schemas.microsoft.com/office/drawing/2014/main" id="{702BF952-9C22-B565-B785-DB0EEA31482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00969" y="3559203"/>
            <a:ext cx="1433647" cy="924381"/>
          </a:xfrm>
          <a:prstGeom prst="homePlate">
            <a:avLst>
              <a:gd name="adj" fmla="val 18523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icing </a:t>
            </a:r>
            <a:b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</a:br>
            <a:r>
              <a:rPr lang="en-US" sz="1400" b="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rends</a:t>
            </a:r>
          </a:p>
        </p:txBody>
      </p:sp>
      <p:sp>
        <p:nvSpPr>
          <p:cNvPr id="35" name="Content Placeholder 10">
            <a:extLst>
              <a:ext uri="{FF2B5EF4-FFF2-40B4-BE49-F238E27FC236}">
                <a16:creationId xmlns:a16="http://schemas.microsoft.com/office/drawing/2014/main" id="{B66FEC23-A852-2E23-7BEE-6DBE0EDBBC0D}"/>
              </a:ext>
            </a:extLst>
          </p:cNvPr>
          <p:cNvSpPr txBox="1">
            <a:spLocks/>
          </p:cNvSpPr>
          <p:nvPr userDrawn="1"/>
        </p:nvSpPr>
        <p:spPr>
          <a:xfrm>
            <a:off x="7989945" y="3559203"/>
            <a:ext cx="2959325" cy="332399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/>
              <a:t>Pricing trends c</a:t>
            </a:r>
            <a:r>
              <a:rPr lang="en-US" sz="1200" dirty="0">
                <a:latin typeface="+mn-lt"/>
              </a:rPr>
              <a:t>ut by market, deal size, deal source, and lease strategy</a:t>
            </a:r>
          </a:p>
        </p:txBody>
      </p:sp>
      <p:sp>
        <p:nvSpPr>
          <p:cNvPr id="36" name="AutoShape 15">
            <a:extLst>
              <a:ext uri="{FF2B5EF4-FFF2-40B4-BE49-F238E27FC236}">
                <a16:creationId xmlns:a16="http://schemas.microsoft.com/office/drawing/2014/main" id="{67869891-D07A-3394-F9A9-775710F118F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00969" y="4829694"/>
            <a:ext cx="1433647" cy="924381"/>
          </a:xfrm>
          <a:prstGeom prst="homePlate">
            <a:avLst>
              <a:gd name="adj" fmla="val 18523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None/>
            </a:pPr>
            <a:r>
              <a:rPr lang="en-US" sz="1400" b="0" dirty="0">
                <a:solidFill>
                  <a:srgbClr val="FFFFFF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rigination</a:t>
            </a:r>
          </a:p>
        </p:txBody>
      </p:sp>
      <p:sp>
        <p:nvSpPr>
          <p:cNvPr id="37" name="Content Placeholder 10">
            <a:extLst>
              <a:ext uri="{FF2B5EF4-FFF2-40B4-BE49-F238E27FC236}">
                <a16:creationId xmlns:a16="http://schemas.microsoft.com/office/drawing/2014/main" id="{44EEC6E9-2EB0-8646-C9F8-A492D4126386}"/>
              </a:ext>
            </a:extLst>
          </p:cNvPr>
          <p:cNvSpPr txBox="1">
            <a:spLocks/>
          </p:cNvSpPr>
          <p:nvPr userDrawn="1"/>
        </p:nvSpPr>
        <p:spPr>
          <a:xfrm>
            <a:off x="7989945" y="4829695"/>
            <a:ext cx="2959323" cy="370871"/>
          </a:xfrm>
          <a:prstGeom prst="rect">
            <a:avLst/>
          </a:prstGeom>
          <a:ln w="9525">
            <a:noFill/>
          </a:ln>
        </p:spPr>
        <p:txBody>
          <a:bodyPr wrap="square"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/>
              <a:t>Operational KPI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200" dirty="0">
                <a:latin typeface="+mn-lt"/>
              </a:rPr>
              <a:t>Brokerage KPI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5F84D50-B405-D1FA-F008-4D51015A90EF}"/>
              </a:ext>
            </a:extLst>
          </p:cNvPr>
          <p:cNvGrpSpPr/>
          <p:nvPr userDrawn="1"/>
        </p:nvGrpSpPr>
        <p:grpSpPr>
          <a:xfrm>
            <a:off x="6951749" y="1916668"/>
            <a:ext cx="947426" cy="3873814"/>
            <a:chOff x="6974344" y="1916668"/>
            <a:chExt cx="711735" cy="3873814"/>
          </a:xfrm>
        </p:grpSpPr>
        <p:sp>
          <p:nvSpPr>
            <p:cNvPr id="39" name="Content Placeholder 10">
              <a:extLst>
                <a:ext uri="{FF2B5EF4-FFF2-40B4-BE49-F238E27FC236}">
                  <a16:creationId xmlns:a16="http://schemas.microsoft.com/office/drawing/2014/main" id="{6CFDDC12-6D25-AF9F-3E87-C5517040BF92}"/>
                </a:ext>
              </a:extLst>
            </p:cNvPr>
            <p:cNvSpPr txBox="1">
              <a:spLocks/>
            </p:cNvSpPr>
            <p:nvPr/>
          </p:nvSpPr>
          <p:spPr>
            <a:xfrm>
              <a:off x="6974344" y="2585054"/>
              <a:ext cx="711735" cy="332399"/>
            </a:xfrm>
            <a:prstGeom prst="rect">
              <a:avLst/>
            </a:prstGeom>
            <a:ln w="9525">
              <a:noFill/>
            </a:ln>
          </p:spPr>
          <p:txBody>
            <a:bodyPr wrap="square" lIns="0" tIns="0" rIns="0" bIns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200" i="1" dirty="0">
                  <a:latin typeface="+mn-lt"/>
                </a:rPr>
                <a:t>Closed </a:t>
              </a:r>
              <a:br>
                <a:rPr lang="en-US" sz="1200" i="1" dirty="0">
                  <a:latin typeface="+mn-lt"/>
                </a:rPr>
              </a:br>
              <a:r>
                <a:rPr lang="en-US" sz="1200" i="1" dirty="0">
                  <a:latin typeface="+mn-lt"/>
                </a:rPr>
                <a:t>Deals</a:t>
              </a:r>
            </a:p>
          </p:txBody>
        </p:sp>
        <p:sp>
          <p:nvSpPr>
            <p:cNvPr id="40" name="Content Placeholder 10">
              <a:extLst>
                <a:ext uri="{FF2B5EF4-FFF2-40B4-BE49-F238E27FC236}">
                  <a16:creationId xmlns:a16="http://schemas.microsoft.com/office/drawing/2014/main" id="{9B109D76-B1A7-FD58-EC5B-FE48300DEF26}"/>
                </a:ext>
              </a:extLst>
            </p:cNvPr>
            <p:cNvSpPr txBox="1">
              <a:spLocks/>
            </p:cNvSpPr>
            <p:nvPr/>
          </p:nvSpPr>
          <p:spPr>
            <a:xfrm>
              <a:off x="6974344" y="3852720"/>
              <a:ext cx="711735" cy="332399"/>
            </a:xfrm>
            <a:prstGeom prst="rect">
              <a:avLst/>
            </a:prstGeom>
            <a:ln w="9525">
              <a:noFill/>
            </a:ln>
          </p:spPr>
          <p:txBody>
            <a:bodyPr wrap="square" lIns="0" tIns="0" rIns="0" bIns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200" i="1" dirty="0">
                  <a:latin typeface="+mn-lt"/>
                </a:rPr>
                <a:t>Pipeline Platform</a:t>
              </a:r>
            </a:p>
          </p:txBody>
        </p:sp>
        <p:sp>
          <p:nvSpPr>
            <p:cNvPr id="41" name="Content Placeholder 10">
              <a:extLst>
                <a:ext uri="{FF2B5EF4-FFF2-40B4-BE49-F238E27FC236}">
                  <a16:creationId xmlns:a16="http://schemas.microsoft.com/office/drawing/2014/main" id="{A4717360-7197-6D98-981B-1A5DD804C751}"/>
                </a:ext>
              </a:extLst>
            </p:cNvPr>
            <p:cNvSpPr txBox="1">
              <a:spLocks/>
            </p:cNvSpPr>
            <p:nvPr/>
          </p:nvSpPr>
          <p:spPr>
            <a:xfrm>
              <a:off x="6974344" y="5125685"/>
              <a:ext cx="711735" cy="664797"/>
            </a:xfrm>
            <a:prstGeom prst="rect">
              <a:avLst/>
            </a:prstGeom>
            <a:ln w="9525">
              <a:noFill/>
            </a:ln>
          </p:spPr>
          <p:txBody>
            <a:bodyPr wrap="square" lIns="0" tIns="0" rIns="0" bIns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200" i="1" dirty="0">
                  <a:latin typeface="+mn-lt"/>
                </a:rPr>
                <a:t>Pipeline Platform, Broker CRM</a:t>
              </a:r>
            </a:p>
          </p:txBody>
        </p:sp>
        <p:sp>
          <p:nvSpPr>
            <p:cNvPr id="42" name="Content Placeholder 10">
              <a:extLst>
                <a:ext uri="{FF2B5EF4-FFF2-40B4-BE49-F238E27FC236}">
                  <a16:creationId xmlns:a16="http://schemas.microsoft.com/office/drawing/2014/main" id="{2854A0F4-E675-51E7-8683-D95D4C78A487}"/>
                </a:ext>
              </a:extLst>
            </p:cNvPr>
            <p:cNvSpPr txBox="1">
              <a:spLocks/>
            </p:cNvSpPr>
            <p:nvPr/>
          </p:nvSpPr>
          <p:spPr>
            <a:xfrm>
              <a:off x="6974344" y="1916668"/>
              <a:ext cx="711735" cy="166199"/>
            </a:xfrm>
            <a:prstGeom prst="rect">
              <a:avLst/>
            </a:prstGeom>
            <a:ln w="9525">
              <a:noFill/>
            </a:ln>
          </p:spPr>
          <p:txBody>
            <a:bodyPr wrap="square" lIns="0" tIns="0" rIns="0" bIns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76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200" i="1" u="sng" dirty="0">
                  <a:latin typeface="+mn-lt"/>
                </a:rPr>
                <a:t>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7272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F180EB-1DC8-41FE-A1B8-F9098C8C0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30622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F180EB-1DC8-41FE-A1B8-F9098C8C0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D95BBA3-B154-4CDA-B6C4-250B08222CB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1FDDA9D-FE17-E08D-1AD2-0CCE01523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9431" y="6529386"/>
            <a:ext cx="537262" cy="206104"/>
          </a:xfrm>
          <a:prstGeom prst="rect">
            <a:avLst/>
          </a:prstGeom>
        </p:spPr>
        <p:txBody>
          <a:bodyPr anchor="b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19B51A1E-902D-48AF-9020-955120F399B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2FBCD6-CDD6-BCBA-1FB6-1CE45041E600}"/>
              </a:ext>
            </a:extLst>
          </p:cNvPr>
          <p:cNvSpPr txBox="1"/>
          <p:nvPr userDrawn="1"/>
        </p:nvSpPr>
        <p:spPr>
          <a:xfrm>
            <a:off x="537298" y="206265"/>
            <a:ext cx="331653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80" b="1" dirty="0">
                <a:solidFill>
                  <a:srgbClr val="33404F"/>
                </a:solidFill>
                <a:latin typeface="Gilroy" pitchFamily="2" charset="77"/>
              </a:rPr>
              <a:t>Tenant Credit Scorecard </a:t>
            </a:r>
            <a:r>
              <a:rPr lang="en-US" sz="1080" dirty="0">
                <a:solidFill>
                  <a:srgbClr val="33404F"/>
                </a:solidFill>
                <a:latin typeface="Gilroy" pitchFamily="2" charset="77"/>
              </a:rPr>
              <a:t>| New FP Methodology</a:t>
            </a:r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1" r:id="rId2"/>
    <p:sldLayoutId id="2147483718" r:id="rId3"/>
    <p:sldLayoutId id="2147483701" r:id="rId4"/>
    <p:sldLayoutId id="2147483711" r:id="rId5"/>
    <p:sldLayoutId id="2147483700" r:id="rId6"/>
    <p:sldLayoutId id="2147483694" r:id="rId7"/>
    <p:sldLayoutId id="2147483695" r:id="rId8"/>
    <p:sldLayoutId id="2147483702" r:id="rId9"/>
    <p:sldLayoutId id="2147483713" r:id="rId10"/>
    <p:sldLayoutId id="2147483707" r:id="rId11"/>
    <p:sldLayoutId id="2147483649" r:id="rId12"/>
    <p:sldLayoutId id="2147483692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kern="1200" spc="-100" baseline="0" noProof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Ø"/>
        <a:defRPr sz="14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80746D-7D0C-623E-F173-A80BCCB2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3E672436-594F-0534-A447-62F145B8BD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FA1B16B2-D932-AF82-12FF-5EC273D08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0ED0F9F-5077-F5EA-4EB8-C9CE894D55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536577"/>
            <a:ext cx="10966450" cy="547688"/>
          </a:xfrm>
        </p:spPr>
        <p:txBody>
          <a:bodyPr/>
          <a:lstStyle/>
          <a:p>
            <a:r>
              <a:rPr lang="en-US" dirty="0"/>
              <a:t>Premier Specialties, Inc. </a:t>
            </a:r>
            <a:r>
              <a:rPr lang="en-US" sz="1600" dirty="0"/>
              <a:t>(d/b/a </a:t>
            </a:r>
            <a:r>
              <a:rPr lang="en-US" sz="1600" dirty="0" err="1"/>
              <a:t>OnScent</a:t>
            </a:r>
            <a:r>
              <a:rPr lang="en-US" sz="1600" dirty="0"/>
              <a:t>)</a:t>
            </a:r>
            <a:r>
              <a:rPr lang="en-US" b="0" dirty="0"/>
              <a:t>| Tenant Credit Risk Narrativ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AF8CD6-A222-A2D1-3EF0-78BF114E8FF6}"/>
              </a:ext>
            </a:extLst>
          </p:cNvPr>
          <p:cNvSpPr txBox="1"/>
          <p:nvPr/>
        </p:nvSpPr>
        <p:spPr>
          <a:xfrm>
            <a:off x="342901" y="960982"/>
            <a:ext cx="11468098" cy="5767078"/>
          </a:xfrm>
          <a:prstGeom prst="rect">
            <a:avLst/>
          </a:prstGeom>
          <a:noFill/>
        </p:spPr>
        <p:txBody>
          <a:bodyPr wrap="square" lIns="45720" tIns="0" rIns="45720" bIns="0">
            <a:noAutofit/>
          </a:bodyPr>
          <a:lstStyle>
            <a:defPPr>
              <a:defRPr lang="en-US"/>
            </a:defPPr>
            <a:lvl1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en-US" dirty="0">
                <a:sym typeface="Wingdings" panose="05000000000000000000" pitchFamily="2" charset="2"/>
              </a:rPr>
              <a:t>This assessment is based on the unaudited, and uncommented company-created financials per FY-24 and FY-25 (budget). The FY-24 financials are most relevant, with the FY-25 budgeted financials confirming the concluded 5.0-rating. The information was supplemented by a tenant interview, compensating for the missing notes to financials.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b="1" u="sng" dirty="0"/>
              <a:t>Pros:</a:t>
            </a:r>
          </a:p>
          <a:p>
            <a:pPr>
              <a:spcBef>
                <a:spcPts val="200"/>
              </a:spcBef>
            </a:pPr>
            <a:r>
              <a:rPr lang="en-US" dirty="0" err="1"/>
              <a:t>OnScent</a:t>
            </a:r>
            <a:r>
              <a:rPr lang="en-US" dirty="0"/>
              <a:t> maintains very high EBITDA margins (&gt;22.0% in FY-24/25), far exceeding the industry median of 5.8%. YoY they anticipate an absolute growth in in EBITDA by 29%. </a:t>
            </a:r>
          </a:p>
          <a:p>
            <a:pPr>
              <a:spcBef>
                <a:spcPts val="200"/>
              </a:spcBef>
            </a:pPr>
            <a:r>
              <a:rPr lang="en-US" dirty="0"/>
              <a:t>The Riverside Company (PE-sponsor, “TRC”) is pursuing a buy-and-build strategy with them. Hence, the entity is carrying a substantial amount in non-cash expenses () but D&amp;A) of approximately $21mn in FY-24, and FY-25. Therefore, EBITDA is a much more meaningful KPI than Net Income, given they are operating at a Net Loss.</a:t>
            </a:r>
          </a:p>
          <a:p>
            <a:pPr>
              <a:spcBef>
                <a:spcPts val="200"/>
              </a:spcBef>
            </a:pPr>
            <a:r>
              <a:rPr lang="en-US" dirty="0"/>
              <a:t>Current and quick ratio, which are currently in line with market, shall improve from 1.61/0.95 in FY-24 to 2.38/1.65 in FY-25. In addition, the entity has a $10mn R/C-line, that’s currently 30% utilized (most recently) in support of prior CAPEX. Cash is projected to grow from $1.2mn in FY-24 to $3.14mn in FY-25.</a:t>
            </a:r>
          </a:p>
          <a:p>
            <a:pPr>
              <a:spcBef>
                <a:spcPts val="200"/>
              </a:spcBef>
            </a:pPr>
            <a:r>
              <a:rPr lang="en-US" dirty="0"/>
              <a:t>The integration of 5 firms since 6/21 progresses according to their plan. The bulk of integration expenses were incurred over the past 2 years (e.g. ERP system, consultants/temps, consolidations, </a:t>
            </a:r>
            <a:r>
              <a:rPr lang="en-US" dirty="0" err="1"/>
              <a:t>etc</a:t>
            </a:r>
            <a:r>
              <a:rPr lang="en-US" dirty="0"/>
              <a:t> ~$-2mn). The entity has a 97% Gross Revenue retention and plans to add 2-3 more firms by '28. Relative to FY-24, the Operating Ratio is projected to improve from 1.15 to 1.05 in FY-25. The latter is a reflection of the synergies achieved, and integration expenses rolling off. Their 2025 Sales Pipeline has ~24mn in potential revenue (max).</a:t>
            </a:r>
          </a:p>
          <a:p>
            <a:pPr>
              <a:spcBef>
                <a:spcPts val="200"/>
              </a:spcBef>
            </a:pPr>
            <a:r>
              <a:rPr lang="en-US" dirty="0"/>
              <a:t>Since 2021 TRC invested &gt;$100mn into </a:t>
            </a:r>
            <a:r>
              <a:rPr lang="en-US" dirty="0" err="1"/>
              <a:t>OnScent</a:t>
            </a:r>
            <a:r>
              <a:rPr lang="en-US" dirty="0"/>
              <a:t>, making them one of their top 5 equity investments. </a:t>
            </a:r>
            <a:r>
              <a:rPr lang="en-US" dirty="0" err="1"/>
              <a:t>OnScent</a:t>
            </a:r>
            <a:r>
              <a:rPr lang="en-US" dirty="0"/>
              <a:t> sits in RMCF V ($1.2bn fund) – RMCF VI is a $1.9bn fund. Within &gt;30 years, they claim never having had a capital call being refused for funding. Their average investment period is 6.7 years, yet they don’t have exit timeline commitments. 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b="1" u="sng" dirty="0"/>
              <a:t>Cons</a:t>
            </a:r>
          </a:p>
          <a:p>
            <a:pPr marL="171450" indent="-171450" algn="just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Persistent Net Loss of -$22.3mn in FY-24, projected to improve to a Net Loss of -$15.7mn in FY-25. Interest expenses ($12.4mn FY24, $11.2mn FY25), continue to be a major burden.</a:t>
            </a:r>
          </a:p>
          <a:p>
            <a:pPr marL="171450" indent="-171450" algn="just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Debt-to-asset ratio is slated to increase from 61.5% to 66.3%, and debt-to-equity to deteriorate from 1.98x to 2.73x. Since they are forecasting Total Debt to decrease by -2.4% in FY-25, it is likely that Total Assets are comprised of as much as 75% Goodwill and Intangibles, which are gradually being charged off annually.</a:t>
            </a:r>
          </a:p>
          <a:p>
            <a:pPr>
              <a:spcBef>
                <a:spcPts val="200"/>
              </a:spcBef>
            </a:pPr>
            <a:r>
              <a:rPr lang="en-US" dirty="0"/>
              <a:t>Substantial refinancing risk. Premier Specialties is carrying ~$100mn in debt of which $10mn is an R/C-line. Both are maturing in 8/2027 (Maturity Wall), are bound to SOFR + 575-700. The main loan covenant tied to these two lines are a max Leverage of 8.75x (going-in), stepping down to 6.0x over time. Ares Management (NYSE:ARES) and </a:t>
            </a:r>
            <a:r>
              <a:rPr lang="en-US" dirty="0" err="1"/>
              <a:t>Apogem</a:t>
            </a:r>
            <a:r>
              <a:rPr lang="en-US" dirty="0"/>
              <a:t> Capital (wholly-owned subsidiary of New York Life) are the respective non-bank lenders.</a:t>
            </a:r>
          </a:p>
          <a:p>
            <a:pPr>
              <a:spcBef>
                <a:spcPts val="200"/>
              </a:spcBef>
            </a:pPr>
            <a:r>
              <a:rPr lang="en-US" dirty="0"/>
              <a:t>Top 5 customers amount to 40% of total sales in a heavily relationship driven industry. Losing a salesperson can cause a loss of key clients that might move with the individual.</a:t>
            </a:r>
          </a:p>
          <a:p>
            <a:pPr marL="171450" indent="-171450" algn="just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During conversations TRC mentioned the sentiment that they could exit the investment already from a profitability point of view (at a 17x-20x EBITDA Multiplier). However, they want to further increase EBITDA to increase their respective return.  Although slated to decline by $6.6mn, the entity is planning with a Net Loss of -$15.7mn in FY-25.   </a:t>
            </a:r>
          </a:p>
          <a:p>
            <a:pPr marL="0" indent="0" algn="just">
              <a:spcBef>
                <a:spcPts val="300"/>
              </a:spcBef>
              <a:buNone/>
            </a:pPr>
            <a:r>
              <a:rPr lang="en-US" sz="1200" b="1" u="sng" dirty="0"/>
              <a:t>Bottom Line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dirty="0"/>
              <a:t>Performance is trending in the right direction, yet continued PE-support is vital. The entity can carry its’ debt, even though debt-to-assets (provided Goodwill &amp; Intangibles are ~75% of all assets) are likely far beyond 100%. The refi risk, (maturity wall in 2027), is a bigger concern than a breach of loan covenants (FY-24 6.7x, FY-25 5.0x). TRC plans to amend and extend with Ares and </a:t>
            </a:r>
            <a:r>
              <a:rPr lang="en-US" dirty="0" err="1"/>
              <a:t>Apogem</a:t>
            </a:r>
            <a:r>
              <a:rPr lang="en-US" dirty="0"/>
              <a:t>. Otherwise, they feel confident being able to shop the deal amongst their vast network of capable lenders. The possibility of an exit within the next 2-4 years, or prior, is most likely (e.g. M&amp;A/strategic investor – </a:t>
            </a:r>
            <a:r>
              <a:rPr lang="en-US" u="sng" dirty="0"/>
              <a:t>further consolidation</a:t>
            </a:r>
            <a:r>
              <a:rPr lang="en-US" dirty="0"/>
              <a:t>) as TRC believes that are already at their targeted EBITDA multiplier. Hence, a suitable SD for re-leasing the subject property should be part of the lease agreement.</a:t>
            </a:r>
          </a:p>
        </p:txBody>
      </p:sp>
      <p:pic>
        <p:nvPicPr>
          <p:cNvPr id="3" name="Picture 2" descr="A logo with green leaves&#10;&#10;AI-generated content may be incorrect.">
            <a:extLst>
              <a:ext uri="{FF2B5EF4-FFF2-40B4-BE49-F238E27FC236}">
                <a16:creationId xmlns:a16="http://schemas.microsoft.com/office/drawing/2014/main" id="{09652E28-89DA-7F25-85A3-2D565FBD0FE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282" t="22248" r="1282" b="33520"/>
          <a:stretch/>
        </p:blipFill>
        <p:spPr>
          <a:xfrm>
            <a:off x="10112828" y="178178"/>
            <a:ext cx="1698171" cy="7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084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FF&quot; g=&quot;D8&quot; b=&quot;97&quot;/&gt;&lt;/elem&gt;&lt;elem m_fUsage=&quot;8.10000000000000053291E-01&quot;&gt;&lt;m_msothmcolidx val=&quot;0&quot;/&gt;&lt;m_rgb r=&quot;CB&quot; g=&quot;D5&quot; b=&quot;DE&quot;/&gt;&lt;/elem&gt;&lt;elem m_fUsage=&quot;7.29000000000000092371E-01&quot;&gt;&lt;m_msothmcolidx val=&quot;0&quot;/&gt;&lt;m_rgb r=&quot;89&quot; g=&quot;9D&quot; b=&quot;B4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bU02eB7RbiYRtpjg0d7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E0Uo_jEU2.UBLpl1kf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3404F"/>
      </a:accent1>
      <a:accent2>
        <a:srgbClr val="FFAB21"/>
      </a:accent2>
      <a:accent3>
        <a:srgbClr val="A5A5A5"/>
      </a:accent3>
      <a:accent4>
        <a:srgbClr val="FFD965"/>
      </a:accent4>
      <a:accent5>
        <a:srgbClr val="99CCFF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F16411248_Architecture pitch deck_AAS_v3" id="{D6ADE7BA-2AE6-4C0F-A253-97D96F39DF4F}" vid="{B3EF9804-4F7A-49D6-8F08-674E893D96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48CE358F3D0B4EA788644A4FFB1AD2" ma:contentTypeVersion="14" ma:contentTypeDescription="Create a new document." ma:contentTypeScope="" ma:versionID="f8a4cab7c493d75aa1528d3a74ae4c7e">
  <xsd:schema xmlns:xsd="http://www.w3.org/2001/XMLSchema" xmlns:xs="http://www.w3.org/2001/XMLSchema" xmlns:p="http://schemas.microsoft.com/office/2006/metadata/properties" xmlns:ns2="0ffe02cf-bcd9-4458-8135-a0e16dc5cf50" xmlns:ns3="40606339-1470-4982-a189-d0a3187b38d0" targetNamespace="http://schemas.microsoft.com/office/2006/metadata/properties" ma:root="true" ma:fieldsID="bbfab0e36610469994078d37bd78055f" ns2:_="" ns3:_="">
    <xsd:import namespace="0ffe02cf-bcd9-4458-8135-a0e16dc5cf50"/>
    <xsd:import namespace="40606339-1470-4982-a189-d0a3187b38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fe02cf-bcd9-4458-8135-a0e16dc5cf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3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4754051-9484-4b91-b87b-bc7805518ac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606339-1470-4982-a189-d0a3187b38d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3d844df-9335-497c-a11d-c5f56cdce63e}" ma:internalName="TaxCatchAll" ma:showField="CatchAllData" ma:web="40606339-1470-4982-a189-d0a3187b38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fe02cf-bcd9-4458-8135-a0e16dc5cf50">
      <Terms xmlns="http://schemas.microsoft.com/office/infopath/2007/PartnerControls"/>
    </lcf76f155ced4ddcb4097134ff3c332f>
    <TaxCatchAll xmlns="40606339-1470-4982-a189-d0a3187b38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B58F5E6-61D5-4E7B-8A35-DA4060815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fe02cf-bcd9-4458-8135-a0e16dc5cf50"/>
    <ds:schemaRef ds:uri="40606339-1470-4982-a189-d0a3187b38d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687A62-7187-4F21-B4CA-BF435385BA39}">
  <ds:schemaRefs>
    <ds:schemaRef ds:uri="http://schemas.microsoft.com/office/2006/documentManagement/types"/>
    <ds:schemaRef ds:uri="16c05727-aa75-4e4a-9b5f-8a80a1165891"/>
    <ds:schemaRef ds:uri="http://schemas.microsoft.com/office/2006/metadata/properties"/>
    <ds:schemaRef ds:uri="http://purl.org/dc/dcmitype/"/>
    <ds:schemaRef ds:uri="http://purl.org/dc/elements/1.1/"/>
    <ds:schemaRef ds:uri="71af3243-3dd4-4a8d-8c0d-dd76da1f02a5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0ffe02cf-bcd9-4458-8135-a0e16dc5cf50"/>
    <ds:schemaRef ds:uri="40606339-1470-4982-a189-d0a3187b38d0"/>
  </ds:schemaRefs>
</ds:datastoreItem>
</file>

<file path=customXml/itemProps3.xml><?xml version="1.0" encoding="utf-8"?>
<ds:datastoreItem xmlns:ds="http://schemas.openxmlformats.org/officeDocument/2006/customXml" ds:itemID="{C9E218DD-0FEB-4634-80BC-C17E97F7391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rchitecture pitch deck</Template>
  <TotalTime>0</TotalTime>
  <Words>870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Calibri</vt:lpstr>
      <vt:lpstr>Calibri Light</vt:lpstr>
      <vt:lpstr>Cambria</vt:lpstr>
      <vt:lpstr>Courier New</vt:lpstr>
      <vt:lpstr>Gilroy</vt:lpstr>
      <vt:lpstr>Helvetica</vt:lpstr>
      <vt:lpstr>Lato Light</vt:lpstr>
      <vt:lpstr>Lato Medium</vt:lpstr>
      <vt:lpstr>Symbol</vt:lpstr>
      <vt:lpstr>Webdings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9-11-06T04:31:46Z</dcterms:created>
  <dcterms:modified xsi:type="dcterms:W3CDTF">2025-02-20T20:4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CE358F3D0B4EA788644A4FFB1AD2</vt:lpwstr>
  </property>
  <property fmtid="{D5CDD505-2E9C-101B-9397-08002B2CF9AE}" pid="3" name="Order">
    <vt:r8>657400</vt:r8>
  </property>
  <property fmtid="{D5CDD505-2E9C-101B-9397-08002B2CF9AE}" pid="4" name="MediaServiceImageTags">
    <vt:lpwstr/>
  </property>
</Properties>
</file>